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861" r:id="rId4"/>
  </p:sldMasterIdLst>
  <p:notesMasterIdLst>
    <p:notesMasterId r:id="rId12"/>
  </p:notesMasterIdLst>
  <p:handoutMasterIdLst>
    <p:handoutMasterId r:id="rId13"/>
  </p:handoutMasterIdLst>
  <p:sldIdLst>
    <p:sldId id="269" r:id="rId5"/>
    <p:sldId id="260" r:id="rId6"/>
    <p:sldId id="261" r:id="rId7"/>
    <p:sldId id="265" r:id="rId8"/>
    <p:sldId id="266" r:id="rId9"/>
    <p:sldId id="262" r:id="rId10"/>
    <p:sldId id="267" r:id="rId11"/>
  </p:sldIdLst>
  <p:sldSz cx="9144000" cy="5143500" type="screen16x9"/>
  <p:notesSz cx="6858000" cy="9144000"/>
  <p:custDataLst>
    <p:tags r:id="rId14"/>
  </p:custDataLst>
  <p:defaultTextStyle>
    <a:defPPr>
      <a:defRPr lang="en-US"/>
    </a:defPPr>
    <a:lvl1pPr algn="ctr" rtl="0" fontAlgn="base">
      <a:lnSpc>
        <a:spcPct val="90000"/>
      </a:lnSpc>
      <a:spcBef>
        <a:spcPct val="20000"/>
      </a:spcBef>
      <a:spcAft>
        <a:spcPct val="0"/>
      </a:spcAft>
      <a:buClr>
        <a:schemeClr val="tx1"/>
      </a:buClr>
      <a:buChar char="•"/>
      <a:defRPr kern="1200">
        <a:solidFill>
          <a:srgbClr val="003082"/>
        </a:solidFill>
        <a:latin typeface="Arial" charset="0"/>
        <a:ea typeface="宋体" pitchFamily="2" charset="-122"/>
        <a:cs typeface="+mn-cs"/>
      </a:defRPr>
    </a:lvl1pPr>
    <a:lvl2pPr marL="389582" algn="ctr" rtl="0" fontAlgn="base">
      <a:lnSpc>
        <a:spcPct val="90000"/>
      </a:lnSpc>
      <a:spcBef>
        <a:spcPct val="20000"/>
      </a:spcBef>
      <a:spcAft>
        <a:spcPct val="0"/>
      </a:spcAft>
      <a:buClr>
        <a:schemeClr val="tx1"/>
      </a:buClr>
      <a:buChar char="•"/>
      <a:defRPr kern="1200">
        <a:solidFill>
          <a:srgbClr val="003082"/>
        </a:solidFill>
        <a:latin typeface="Arial" charset="0"/>
        <a:ea typeface="宋体" pitchFamily="2" charset="-122"/>
        <a:cs typeface="+mn-cs"/>
      </a:defRPr>
    </a:lvl2pPr>
    <a:lvl3pPr marL="779163" algn="ctr" rtl="0" fontAlgn="base">
      <a:lnSpc>
        <a:spcPct val="90000"/>
      </a:lnSpc>
      <a:spcBef>
        <a:spcPct val="20000"/>
      </a:spcBef>
      <a:spcAft>
        <a:spcPct val="0"/>
      </a:spcAft>
      <a:buClr>
        <a:schemeClr val="tx1"/>
      </a:buClr>
      <a:buChar char="•"/>
      <a:defRPr kern="1200">
        <a:solidFill>
          <a:srgbClr val="003082"/>
        </a:solidFill>
        <a:latin typeface="Arial" charset="0"/>
        <a:ea typeface="宋体" pitchFamily="2" charset="-122"/>
        <a:cs typeface="+mn-cs"/>
      </a:defRPr>
    </a:lvl3pPr>
    <a:lvl4pPr marL="1168745" algn="ctr" rtl="0" fontAlgn="base">
      <a:lnSpc>
        <a:spcPct val="90000"/>
      </a:lnSpc>
      <a:spcBef>
        <a:spcPct val="20000"/>
      </a:spcBef>
      <a:spcAft>
        <a:spcPct val="0"/>
      </a:spcAft>
      <a:buClr>
        <a:schemeClr val="tx1"/>
      </a:buClr>
      <a:buChar char="•"/>
      <a:defRPr kern="1200">
        <a:solidFill>
          <a:srgbClr val="003082"/>
        </a:solidFill>
        <a:latin typeface="Arial" charset="0"/>
        <a:ea typeface="宋体" pitchFamily="2" charset="-122"/>
        <a:cs typeface="+mn-cs"/>
      </a:defRPr>
    </a:lvl4pPr>
    <a:lvl5pPr marL="1558326" algn="ctr" rtl="0" fontAlgn="base">
      <a:lnSpc>
        <a:spcPct val="90000"/>
      </a:lnSpc>
      <a:spcBef>
        <a:spcPct val="20000"/>
      </a:spcBef>
      <a:spcAft>
        <a:spcPct val="0"/>
      </a:spcAft>
      <a:buClr>
        <a:schemeClr val="tx1"/>
      </a:buClr>
      <a:buChar char="•"/>
      <a:defRPr kern="1200">
        <a:solidFill>
          <a:srgbClr val="003082"/>
        </a:solidFill>
        <a:latin typeface="Arial" charset="0"/>
        <a:ea typeface="宋体" pitchFamily="2" charset="-122"/>
        <a:cs typeface="+mn-cs"/>
      </a:defRPr>
    </a:lvl5pPr>
    <a:lvl6pPr marL="1947908" algn="l" defTabSz="779163" rtl="0" eaLnBrk="1" latinLnBrk="0" hangingPunct="1">
      <a:defRPr kern="1200">
        <a:solidFill>
          <a:srgbClr val="003082"/>
        </a:solidFill>
        <a:latin typeface="Arial" charset="0"/>
        <a:ea typeface="宋体" pitchFamily="2" charset="-122"/>
        <a:cs typeface="+mn-cs"/>
      </a:defRPr>
    </a:lvl6pPr>
    <a:lvl7pPr marL="2337489" algn="l" defTabSz="779163" rtl="0" eaLnBrk="1" latinLnBrk="0" hangingPunct="1">
      <a:defRPr kern="1200">
        <a:solidFill>
          <a:srgbClr val="003082"/>
        </a:solidFill>
        <a:latin typeface="Arial" charset="0"/>
        <a:ea typeface="宋体" pitchFamily="2" charset="-122"/>
        <a:cs typeface="+mn-cs"/>
      </a:defRPr>
    </a:lvl7pPr>
    <a:lvl8pPr marL="2727071" algn="l" defTabSz="779163" rtl="0" eaLnBrk="1" latinLnBrk="0" hangingPunct="1">
      <a:defRPr kern="1200">
        <a:solidFill>
          <a:srgbClr val="003082"/>
        </a:solidFill>
        <a:latin typeface="Arial" charset="0"/>
        <a:ea typeface="宋体" pitchFamily="2" charset="-122"/>
        <a:cs typeface="+mn-cs"/>
      </a:defRPr>
    </a:lvl8pPr>
    <a:lvl9pPr marL="3116652" algn="l" defTabSz="779163" rtl="0" eaLnBrk="1" latinLnBrk="0" hangingPunct="1">
      <a:defRPr kern="1200">
        <a:solidFill>
          <a:srgbClr val="003082"/>
        </a:solidFill>
        <a:latin typeface="Arial" charset="0"/>
        <a:ea typeface="宋体" pitchFamily="2" charset="-122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913">
          <p15:clr>
            <a:srgbClr val="A4A3A4"/>
          </p15:clr>
        </p15:guide>
        <p15:guide id="3" orient="horz" pos="1495">
          <p15:clr>
            <a:srgbClr val="A4A3A4"/>
          </p15:clr>
        </p15:guide>
        <p15:guide id="5" pos="557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asmus Snabb" initials="RS" lastIdx="1" clrIdx="0"/>
  <p:cmAuthor id="2" name="Rasmus Snabb" initials="RS [2]" lastIdx="1" clrIdx="1"/>
  <p:cmAuthor id="3" name="Helén Magnusson" initials="HM" lastIdx="14" clrIdx="2">
    <p:extLst>
      <p:ext uri="{19B8F6BF-5375-455C-9EA6-DF929625EA0E}">
        <p15:presenceInfo xmlns:p15="http://schemas.microsoft.com/office/powerpoint/2012/main" userId="a64114b64ae40712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FA4B4"/>
    <a:srgbClr val="112569"/>
    <a:srgbClr val="031F6D"/>
    <a:srgbClr val="003082"/>
    <a:srgbClr val="000000"/>
    <a:srgbClr val="EAEAEA"/>
    <a:srgbClr val="357388"/>
    <a:srgbClr val="FDDF98"/>
    <a:srgbClr val="BB5206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98DDB19-140B-432A-B11A-B2E6966DB408}" v="1" dt="2022-06-08T10:27:57.16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483" autoAdjust="0"/>
    <p:restoredTop sz="94966" autoAdjust="0"/>
  </p:normalViewPr>
  <p:slideViewPr>
    <p:cSldViewPr showGuides="1">
      <p:cViewPr varScale="1">
        <p:scale>
          <a:sx n="162" d="100"/>
          <a:sy n="162" d="100"/>
        </p:scale>
        <p:origin x="816" y="184"/>
      </p:cViewPr>
      <p:guideLst>
        <p:guide orient="horz" pos="2913"/>
        <p:guide orient="horz" pos="1495"/>
        <p:guide pos="557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130" d="100"/>
          <a:sy n="130" d="100"/>
        </p:scale>
        <p:origin x="4280" y="20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handoutMaster" Target="handoutMasters/handout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 altLang="zh-CN"/>
              <a:t>Company confidential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5C4BB92C-A22D-4A27-B76D-688F39688FEC}" type="datetime1">
              <a:rPr lang="fi-FI" smtClean="0"/>
              <a:t>5.6.2024</a:t>
            </a:fld>
            <a:endParaRPr lang="en-US" altLang="zh-CN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 altLang="zh-CN"/>
              <a:t>© Fazer. All rights reserved</a:t>
            </a:r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A7345AFF-34C7-417E-8E12-E4F370CCD781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633829861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 altLang="zh-CN"/>
              <a:t>Company confidential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1FA16522-1AD0-4097-8454-5114D31BD4D8}" type="datetime1">
              <a:rPr lang="fi-FI" smtClean="0"/>
              <a:t>5.6.2024</a:t>
            </a:fld>
            <a:endParaRPr lang="en-US" altLang="zh-CN"/>
          </a:p>
        </p:txBody>
      </p:sp>
      <p:sp>
        <p:nvSpPr>
          <p:cNvPr id="3277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381000" y="685800"/>
            <a:ext cx="6096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 altLang="zh-CN"/>
              <a:t>© Fazer. All rights reserved</a:t>
            </a:r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535B8CFC-C6C6-4A83-AAA3-6CDCD5EF9CF7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2201505768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宋体" pitchFamily="2" charset="-122"/>
        <a:cs typeface="Arial" charset="0"/>
      </a:defRPr>
    </a:lvl1pPr>
    <a:lvl2pPr marL="389582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宋体" pitchFamily="2" charset="-122"/>
        <a:cs typeface="Arial" charset="0"/>
      </a:defRPr>
    </a:lvl2pPr>
    <a:lvl3pPr marL="779163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宋体" pitchFamily="2" charset="-122"/>
        <a:cs typeface="Arial" charset="0"/>
      </a:defRPr>
    </a:lvl3pPr>
    <a:lvl4pPr marL="1168745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宋体" pitchFamily="2" charset="-122"/>
        <a:cs typeface="Arial" charset="0"/>
      </a:defRPr>
    </a:lvl4pPr>
    <a:lvl5pPr marL="1558326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宋体" pitchFamily="2" charset="-122"/>
        <a:cs typeface="Arial" charset="0"/>
      </a:defRPr>
    </a:lvl5pPr>
    <a:lvl6pPr marL="1947908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2337489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7pPr>
    <a:lvl8pPr marL="2727071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8pPr>
    <a:lvl9pPr marL="3116652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sidhuvud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>
              <a:defRPr/>
            </a:pPr>
            <a:r>
              <a:rPr lang="en-US" altLang="zh-CN"/>
              <a:t>Company confidential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>
              <a:defRPr/>
            </a:pPr>
            <a:fld id="{1FA16522-1AD0-4097-8454-5114D31BD4D8}" type="datetime1">
              <a:rPr lang="fi-FI" smtClean="0"/>
              <a:t>5.6.2024</a:t>
            </a:fld>
            <a:endParaRPr lang="en-US" altLang="zh-CN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en-US" altLang="zh-CN"/>
              <a:t>© Fazer. All rights reserved</a:t>
            </a:r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535B8CFC-C6C6-4A83-AAA3-6CDCD5EF9CF7}" type="slidenum">
              <a:rPr lang="en-US" altLang="zh-CN" smtClean="0"/>
              <a:pPr>
                <a:defRPr/>
              </a:pPr>
              <a:t>2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34599150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expressiv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3"/>
          <p:cNvSpPr>
            <a:spLocks noGrp="1"/>
          </p:cNvSpPr>
          <p:nvPr>
            <p:ph type="title"/>
          </p:nvPr>
        </p:nvSpPr>
        <p:spPr>
          <a:xfrm>
            <a:off x="431998" y="2211710"/>
            <a:ext cx="5796186" cy="1442290"/>
          </a:xfrm>
        </p:spPr>
        <p:txBody>
          <a:bodyPr anchor="b">
            <a:normAutofit/>
          </a:bodyPr>
          <a:lstStyle>
            <a:lvl1pPr algn="l"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8" name="Alaotsikko 2"/>
          <p:cNvSpPr>
            <a:spLocks noGrp="1"/>
          </p:cNvSpPr>
          <p:nvPr>
            <p:ph type="subTitle" idx="1" hasCustomPrompt="1"/>
          </p:nvPr>
        </p:nvSpPr>
        <p:spPr>
          <a:xfrm>
            <a:off x="431999" y="3795886"/>
            <a:ext cx="5796185" cy="96310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1pPr>
            <a:lvl2pPr marL="389582" indent="0" algn="ctr">
              <a:buNone/>
              <a:defRPr/>
            </a:lvl2pPr>
            <a:lvl3pPr marL="779163" indent="0" algn="ctr">
              <a:buNone/>
              <a:defRPr/>
            </a:lvl3pPr>
            <a:lvl4pPr marL="1168745" indent="0" algn="ctr">
              <a:buNone/>
              <a:defRPr/>
            </a:lvl4pPr>
            <a:lvl5pPr marL="1558326" indent="0" algn="ctr">
              <a:buNone/>
              <a:defRPr/>
            </a:lvl5pPr>
            <a:lvl6pPr marL="1947908" indent="0" algn="ctr">
              <a:buNone/>
              <a:defRPr/>
            </a:lvl6pPr>
            <a:lvl7pPr marL="2337489" indent="0" algn="ctr">
              <a:buNone/>
              <a:defRPr/>
            </a:lvl7pPr>
            <a:lvl8pPr marL="2727071" indent="0" algn="ctr">
              <a:buNone/>
              <a:defRPr/>
            </a:lvl8pPr>
            <a:lvl9pPr marL="3116652" indent="0" algn="ctr">
              <a:buNone/>
              <a:defRPr/>
            </a:lvl9pPr>
          </a:lstStyle>
          <a:p>
            <a:r>
              <a:rPr lang="en-US" dirty="0"/>
              <a:t>Click to edit Master subtitle style </a:t>
            </a:r>
            <a:endParaRPr lang="fi-FI" dirty="0"/>
          </a:p>
        </p:txBody>
      </p:sp>
      <p:grpSp>
        <p:nvGrpSpPr>
          <p:cNvPr id="10" name="Ryhmä 9"/>
          <p:cNvGrpSpPr/>
          <p:nvPr/>
        </p:nvGrpSpPr>
        <p:grpSpPr>
          <a:xfrm>
            <a:off x="429904" y="424077"/>
            <a:ext cx="1624084" cy="1621963"/>
            <a:chOff x="8127242" y="116975"/>
            <a:chExt cx="871657" cy="870519"/>
          </a:xfrm>
        </p:grpSpPr>
        <p:sp>
          <p:nvSpPr>
            <p:cNvPr id="11" name="Freeform 5"/>
            <p:cNvSpPr>
              <a:spLocks/>
            </p:cNvSpPr>
            <p:nvPr/>
          </p:nvSpPr>
          <p:spPr bwMode="white">
            <a:xfrm>
              <a:off x="8128948" y="118681"/>
              <a:ext cx="868434" cy="867107"/>
            </a:xfrm>
            <a:custGeom>
              <a:avLst/>
              <a:gdLst>
                <a:gd name="T0" fmla="*/ 20157 w 20157"/>
                <a:gd name="T1" fmla="*/ 10078 h 20156"/>
                <a:gd name="T2" fmla="*/ 10079 w 20157"/>
                <a:gd name="T3" fmla="*/ 20156 h 20156"/>
                <a:gd name="T4" fmla="*/ 0 w 20157"/>
                <a:gd name="T5" fmla="*/ 10078 h 20156"/>
                <a:gd name="T6" fmla="*/ 10079 w 20157"/>
                <a:gd name="T7" fmla="*/ 0 h 20156"/>
                <a:gd name="T8" fmla="*/ 20157 w 20157"/>
                <a:gd name="T9" fmla="*/ 10078 h 20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157" h="20156">
                  <a:moveTo>
                    <a:pt x="20157" y="10078"/>
                  </a:moveTo>
                  <a:cubicBezTo>
                    <a:pt x="20157" y="15644"/>
                    <a:pt x="15644" y="20156"/>
                    <a:pt x="10079" y="20156"/>
                  </a:cubicBezTo>
                  <a:cubicBezTo>
                    <a:pt x="4512" y="20156"/>
                    <a:pt x="0" y="15644"/>
                    <a:pt x="0" y="10078"/>
                  </a:cubicBezTo>
                  <a:cubicBezTo>
                    <a:pt x="0" y="4512"/>
                    <a:pt x="4512" y="0"/>
                    <a:pt x="10079" y="0"/>
                  </a:cubicBezTo>
                  <a:cubicBezTo>
                    <a:pt x="15644" y="0"/>
                    <a:pt x="20157" y="4512"/>
                    <a:pt x="20157" y="100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2" name="Freeform 6"/>
            <p:cNvSpPr>
              <a:spLocks/>
            </p:cNvSpPr>
            <p:nvPr/>
          </p:nvSpPr>
          <p:spPr bwMode="black">
            <a:xfrm>
              <a:off x="8141460" y="131003"/>
              <a:ext cx="843411" cy="842462"/>
            </a:xfrm>
            <a:custGeom>
              <a:avLst/>
              <a:gdLst>
                <a:gd name="T0" fmla="*/ 19577 w 19577"/>
                <a:gd name="T1" fmla="*/ 9788 h 19576"/>
                <a:gd name="T2" fmla="*/ 9789 w 19577"/>
                <a:gd name="T3" fmla="*/ 19576 h 19576"/>
                <a:gd name="T4" fmla="*/ 0 w 19577"/>
                <a:gd name="T5" fmla="*/ 9788 h 19576"/>
                <a:gd name="T6" fmla="*/ 9789 w 19577"/>
                <a:gd name="T7" fmla="*/ 0 h 19576"/>
                <a:gd name="T8" fmla="*/ 19577 w 19577"/>
                <a:gd name="T9" fmla="*/ 9788 h 19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77" h="19576">
                  <a:moveTo>
                    <a:pt x="19577" y="9788"/>
                  </a:moveTo>
                  <a:cubicBezTo>
                    <a:pt x="19577" y="15194"/>
                    <a:pt x="15194" y="19576"/>
                    <a:pt x="9789" y="19576"/>
                  </a:cubicBezTo>
                  <a:cubicBezTo>
                    <a:pt x="4382" y="19576"/>
                    <a:pt x="0" y="15194"/>
                    <a:pt x="0" y="9788"/>
                  </a:cubicBezTo>
                  <a:cubicBezTo>
                    <a:pt x="0" y="4382"/>
                    <a:pt x="4382" y="0"/>
                    <a:pt x="9789" y="0"/>
                  </a:cubicBezTo>
                  <a:cubicBezTo>
                    <a:pt x="15194" y="0"/>
                    <a:pt x="19577" y="4382"/>
                    <a:pt x="19577" y="9788"/>
                  </a:cubicBezTo>
                  <a:close/>
                </a:path>
              </a:pathLst>
            </a:custGeom>
            <a:solidFill>
              <a:srgbClr val="1525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3" name="AutoShape 3"/>
            <p:cNvSpPr>
              <a:spLocks noChangeAspect="1" noChangeArrowheads="1" noTextEdit="1"/>
            </p:cNvSpPr>
            <p:nvPr/>
          </p:nvSpPr>
          <p:spPr bwMode="hidden">
            <a:xfrm>
              <a:off x="8127242" y="116975"/>
              <a:ext cx="871657" cy="8705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4" name="Freeform 7"/>
            <p:cNvSpPr>
              <a:spLocks/>
            </p:cNvSpPr>
            <p:nvPr/>
          </p:nvSpPr>
          <p:spPr bwMode="white">
            <a:xfrm>
              <a:off x="8363260" y="591666"/>
              <a:ext cx="475260" cy="293080"/>
            </a:xfrm>
            <a:custGeom>
              <a:avLst/>
              <a:gdLst>
                <a:gd name="T0" fmla="*/ 10290 w 11030"/>
                <a:gd name="T1" fmla="*/ 76 h 6809"/>
                <a:gd name="T2" fmla="*/ 10869 w 11030"/>
                <a:gd name="T3" fmla="*/ 1274 h 6809"/>
                <a:gd name="T4" fmla="*/ 149 w 11030"/>
                <a:gd name="T5" fmla="*/ 3905 h 6809"/>
                <a:gd name="T6" fmla="*/ 23 w 11030"/>
                <a:gd name="T7" fmla="*/ 3696 h 6809"/>
                <a:gd name="T8" fmla="*/ 201 w 11030"/>
                <a:gd name="T9" fmla="*/ 3719 h 6809"/>
                <a:gd name="T10" fmla="*/ 9259 w 11030"/>
                <a:gd name="T11" fmla="*/ 812 h 6809"/>
                <a:gd name="T12" fmla="*/ 10290 w 11030"/>
                <a:gd name="T13" fmla="*/ 76 h 6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030" h="6809">
                  <a:moveTo>
                    <a:pt x="10290" y="76"/>
                  </a:moveTo>
                  <a:cubicBezTo>
                    <a:pt x="10826" y="166"/>
                    <a:pt x="11030" y="749"/>
                    <a:pt x="10869" y="1274"/>
                  </a:cubicBezTo>
                  <a:cubicBezTo>
                    <a:pt x="9736" y="4966"/>
                    <a:pt x="3442" y="6809"/>
                    <a:pt x="149" y="3905"/>
                  </a:cubicBezTo>
                  <a:cubicBezTo>
                    <a:pt x="27" y="3798"/>
                    <a:pt x="0" y="3735"/>
                    <a:pt x="23" y="3696"/>
                  </a:cubicBezTo>
                  <a:cubicBezTo>
                    <a:pt x="37" y="3671"/>
                    <a:pt x="85" y="3640"/>
                    <a:pt x="201" y="3719"/>
                  </a:cubicBezTo>
                  <a:cubicBezTo>
                    <a:pt x="3791" y="6181"/>
                    <a:pt x="8235" y="3695"/>
                    <a:pt x="9259" y="812"/>
                  </a:cubicBezTo>
                  <a:cubicBezTo>
                    <a:pt x="9467" y="226"/>
                    <a:pt x="9832" y="0"/>
                    <a:pt x="10290" y="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5" name="Freeform 8"/>
            <p:cNvSpPr>
              <a:spLocks/>
            </p:cNvSpPr>
            <p:nvPr/>
          </p:nvSpPr>
          <p:spPr bwMode="white">
            <a:xfrm>
              <a:off x="8229611" y="270719"/>
              <a:ext cx="351468" cy="168341"/>
            </a:xfrm>
            <a:custGeom>
              <a:avLst/>
              <a:gdLst>
                <a:gd name="T0" fmla="*/ 58 w 8157"/>
                <a:gd name="T1" fmla="*/ 3881 h 3911"/>
                <a:gd name="T2" fmla="*/ 42 w 8157"/>
                <a:gd name="T3" fmla="*/ 3757 h 3911"/>
                <a:gd name="T4" fmla="*/ 7928 w 8157"/>
                <a:gd name="T5" fmla="*/ 315 h 3911"/>
                <a:gd name="T6" fmla="*/ 8123 w 8157"/>
                <a:gd name="T7" fmla="*/ 374 h 3911"/>
                <a:gd name="T8" fmla="*/ 212 w 8157"/>
                <a:gd name="T9" fmla="*/ 3827 h 3911"/>
                <a:gd name="T10" fmla="*/ 58 w 8157"/>
                <a:gd name="T11" fmla="*/ 3881 h 39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57" h="3911">
                  <a:moveTo>
                    <a:pt x="58" y="3881"/>
                  </a:moveTo>
                  <a:cubicBezTo>
                    <a:pt x="25" y="3858"/>
                    <a:pt x="0" y="3858"/>
                    <a:pt x="42" y="3757"/>
                  </a:cubicBezTo>
                  <a:cubicBezTo>
                    <a:pt x="1218" y="860"/>
                    <a:pt x="6681" y="2044"/>
                    <a:pt x="7928" y="315"/>
                  </a:cubicBezTo>
                  <a:cubicBezTo>
                    <a:pt x="8157" y="0"/>
                    <a:pt x="8155" y="244"/>
                    <a:pt x="8123" y="374"/>
                  </a:cubicBezTo>
                  <a:cubicBezTo>
                    <a:pt x="7331" y="3484"/>
                    <a:pt x="2144" y="1519"/>
                    <a:pt x="212" y="3827"/>
                  </a:cubicBezTo>
                  <a:cubicBezTo>
                    <a:pt x="171" y="3875"/>
                    <a:pt x="99" y="3911"/>
                    <a:pt x="58" y="38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6" name="Freeform 9"/>
            <p:cNvSpPr>
              <a:spLocks/>
            </p:cNvSpPr>
            <p:nvPr/>
          </p:nvSpPr>
          <p:spPr bwMode="white">
            <a:xfrm>
              <a:off x="8237005" y="392425"/>
              <a:ext cx="157725" cy="368719"/>
            </a:xfrm>
            <a:custGeom>
              <a:avLst/>
              <a:gdLst>
                <a:gd name="T0" fmla="*/ 3645 w 3661"/>
                <a:gd name="T1" fmla="*/ 2724 h 8570"/>
                <a:gd name="T2" fmla="*/ 3288 w 3661"/>
                <a:gd name="T3" fmla="*/ 2624 h 8570"/>
                <a:gd name="T4" fmla="*/ 1665 w 3661"/>
                <a:gd name="T5" fmla="*/ 3390 h 8570"/>
                <a:gd name="T6" fmla="*/ 2367 w 3661"/>
                <a:gd name="T7" fmla="*/ 371 h 8570"/>
                <a:gd name="T8" fmla="*/ 809 w 3661"/>
                <a:gd name="T9" fmla="*/ 4293 h 8570"/>
                <a:gd name="T10" fmla="*/ 459 w 3661"/>
                <a:gd name="T11" fmla="*/ 8450 h 8570"/>
                <a:gd name="T12" fmla="*/ 1545 w 3661"/>
                <a:gd name="T13" fmla="*/ 4521 h 8570"/>
                <a:gd name="T14" fmla="*/ 3418 w 3661"/>
                <a:gd name="T15" fmla="*/ 3003 h 8570"/>
                <a:gd name="T16" fmla="*/ 3645 w 3661"/>
                <a:gd name="T17" fmla="*/ 2724 h 8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61" h="8570">
                  <a:moveTo>
                    <a:pt x="3645" y="2724"/>
                  </a:moveTo>
                  <a:cubicBezTo>
                    <a:pt x="3618" y="2614"/>
                    <a:pt x="3485" y="2592"/>
                    <a:pt x="3288" y="2624"/>
                  </a:cubicBezTo>
                  <a:cubicBezTo>
                    <a:pt x="3077" y="2657"/>
                    <a:pt x="2521" y="2753"/>
                    <a:pt x="1665" y="3390"/>
                  </a:cubicBezTo>
                  <a:cubicBezTo>
                    <a:pt x="1956" y="960"/>
                    <a:pt x="2385" y="513"/>
                    <a:pt x="2367" y="371"/>
                  </a:cubicBezTo>
                  <a:cubicBezTo>
                    <a:pt x="2325" y="33"/>
                    <a:pt x="1437" y="0"/>
                    <a:pt x="809" y="4293"/>
                  </a:cubicBezTo>
                  <a:cubicBezTo>
                    <a:pt x="163" y="5873"/>
                    <a:pt x="0" y="8356"/>
                    <a:pt x="459" y="8450"/>
                  </a:cubicBezTo>
                  <a:cubicBezTo>
                    <a:pt x="1053" y="8570"/>
                    <a:pt x="1323" y="6323"/>
                    <a:pt x="1545" y="4521"/>
                  </a:cubicBezTo>
                  <a:cubicBezTo>
                    <a:pt x="1994" y="3733"/>
                    <a:pt x="2950" y="3228"/>
                    <a:pt x="3418" y="3003"/>
                  </a:cubicBezTo>
                  <a:cubicBezTo>
                    <a:pt x="3629" y="2901"/>
                    <a:pt x="3661" y="2790"/>
                    <a:pt x="3645" y="27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7" name="Freeform 10"/>
            <p:cNvSpPr>
              <a:spLocks/>
            </p:cNvSpPr>
            <p:nvPr/>
          </p:nvSpPr>
          <p:spPr bwMode="white">
            <a:xfrm>
              <a:off x="8377858" y="385789"/>
              <a:ext cx="542179" cy="262179"/>
            </a:xfrm>
            <a:custGeom>
              <a:avLst/>
              <a:gdLst>
                <a:gd name="T0" fmla="*/ 9351 w 12588"/>
                <a:gd name="T1" fmla="*/ 848 h 6096"/>
                <a:gd name="T2" fmla="*/ 6832 w 12588"/>
                <a:gd name="T3" fmla="*/ 3597 h 6096"/>
                <a:gd name="T4" fmla="*/ 6312 w 12588"/>
                <a:gd name="T5" fmla="*/ 4119 h 6096"/>
                <a:gd name="T6" fmla="*/ 4932 w 12588"/>
                <a:gd name="T7" fmla="*/ 3977 h 6096"/>
                <a:gd name="T8" fmla="*/ 6629 w 12588"/>
                <a:gd name="T9" fmla="*/ 1522 h 6096"/>
                <a:gd name="T10" fmla="*/ 6177 w 12588"/>
                <a:gd name="T11" fmla="*/ 1412 h 6096"/>
                <a:gd name="T12" fmla="*/ 4067 w 12588"/>
                <a:gd name="T13" fmla="*/ 1880 h 6096"/>
                <a:gd name="T14" fmla="*/ 3698 w 12588"/>
                <a:gd name="T15" fmla="*/ 1683 h 6096"/>
                <a:gd name="T16" fmla="*/ 3750 w 12588"/>
                <a:gd name="T17" fmla="*/ 1975 h 6096"/>
                <a:gd name="T18" fmla="*/ 2721 w 12588"/>
                <a:gd name="T19" fmla="*/ 4588 h 6096"/>
                <a:gd name="T20" fmla="*/ 2637 w 12588"/>
                <a:gd name="T21" fmla="*/ 3938 h 6096"/>
                <a:gd name="T22" fmla="*/ 2789 w 12588"/>
                <a:gd name="T23" fmla="*/ 3312 h 6096"/>
                <a:gd name="T24" fmla="*/ 2344 w 12588"/>
                <a:gd name="T25" fmla="*/ 3180 h 6096"/>
                <a:gd name="T26" fmla="*/ 1897 w 12588"/>
                <a:gd name="T27" fmla="*/ 4130 h 6096"/>
                <a:gd name="T28" fmla="*/ 1117 w 12588"/>
                <a:gd name="T29" fmla="*/ 4803 h 6096"/>
                <a:gd name="T30" fmla="*/ 1390 w 12588"/>
                <a:gd name="T31" fmla="*/ 3389 h 6096"/>
                <a:gd name="T32" fmla="*/ 2263 w 12588"/>
                <a:gd name="T33" fmla="*/ 2652 h 6096"/>
                <a:gd name="T34" fmla="*/ 2701 w 12588"/>
                <a:gd name="T35" fmla="*/ 2779 h 6096"/>
                <a:gd name="T36" fmla="*/ 2504 w 12588"/>
                <a:gd name="T37" fmla="*/ 2281 h 6096"/>
                <a:gd name="T38" fmla="*/ 569 w 12588"/>
                <a:gd name="T39" fmla="*/ 3564 h 6096"/>
                <a:gd name="T40" fmla="*/ 546 w 12588"/>
                <a:gd name="T41" fmla="*/ 5934 h 6096"/>
                <a:gd name="T42" fmla="*/ 1841 w 12588"/>
                <a:gd name="T43" fmla="*/ 4848 h 6096"/>
                <a:gd name="T44" fmla="*/ 2281 w 12588"/>
                <a:gd name="T45" fmla="*/ 5566 h 6096"/>
                <a:gd name="T46" fmla="*/ 4028 w 12588"/>
                <a:gd name="T47" fmla="*/ 2206 h 6096"/>
                <a:gd name="T48" fmla="*/ 6038 w 12588"/>
                <a:gd name="T49" fmla="*/ 2093 h 6096"/>
                <a:gd name="T50" fmla="*/ 3818 w 12588"/>
                <a:gd name="T51" fmla="*/ 4451 h 6096"/>
                <a:gd name="T52" fmla="*/ 3662 w 12588"/>
                <a:gd name="T53" fmla="*/ 5160 h 6096"/>
                <a:gd name="T54" fmla="*/ 4046 w 12588"/>
                <a:gd name="T55" fmla="*/ 4979 h 6096"/>
                <a:gd name="T56" fmla="*/ 5541 w 12588"/>
                <a:gd name="T57" fmla="*/ 4709 h 6096"/>
                <a:gd name="T58" fmla="*/ 6943 w 12588"/>
                <a:gd name="T59" fmla="*/ 3936 h 6096"/>
                <a:gd name="T60" fmla="*/ 7813 w 12588"/>
                <a:gd name="T61" fmla="*/ 4314 h 6096"/>
                <a:gd name="T62" fmla="*/ 10525 w 12588"/>
                <a:gd name="T63" fmla="*/ 1055 h 6096"/>
                <a:gd name="T64" fmla="*/ 10657 w 12588"/>
                <a:gd name="T65" fmla="*/ 2235 h 6096"/>
                <a:gd name="T66" fmla="*/ 10909 w 12588"/>
                <a:gd name="T67" fmla="*/ 3539 h 6096"/>
                <a:gd name="T68" fmla="*/ 12581 w 12588"/>
                <a:gd name="T69" fmla="*/ 1902 h 6096"/>
                <a:gd name="T70" fmla="*/ 12517 w 12588"/>
                <a:gd name="T71" fmla="*/ 1701 h 6096"/>
                <a:gd name="T72" fmla="*/ 12386 w 12588"/>
                <a:gd name="T73" fmla="*/ 1812 h 6096"/>
                <a:gd name="T74" fmla="*/ 11500 w 12588"/>
                <a:gd name="T75" fmla="*/ 2750 h 6096"/>
                <a:gd name="T76" fmla="*/ 11387 w 12588"/>
                <a:gd name="T77" fmla="*/ 1219 h 6096"/>
                <a:gd name="T78" fmla="*/ 10665 w 12588"/>
                <a:gd name="T79" fmla="*/ 468 h 6096"/>
                <a:gd name="T80" fmla="*/ 10406 w 12588"/>
                <a:gd name="T81" fmla="*/ 227 h 6096"/>
                <a:gd name="T82" fmla="*/ 7936 w 12588"/>
                <a:gd name="T83" fmla="*/ 3603 h 6096"/>
                <a:gd name="T84" fmla="*/ 7761 w 12588"/>
                <a:gd name="T85" fmla="*/ 2121 h 6096"/>
                <a:gd name="T86" fmla="*/ 8696 w 12588"/>
                <a:gd name="T87" fmla="*/ 1332 h 6096"/>
                <a:gd name="T88" fmla="*/ 8034 w 12588"/>
                <a:gd name="T89" fmla="*/ 2470 h 6096"/>
                <a:gd name="T90" fmla="*/ 7904 w 12588"/>
                <a:gd name="T91" fmla="*/ 2625 h 6096"/>
                <a:gd name="T92" fmla="*/ 8147 w 12588"/>
                <a:gd name="T93" fmla="*/ 2701 h 6096"/>
                <a:gd name="T94" fmla="*/ 9351 w 12588"/>
                <a:gd name="T95" fmla="*/ 848 h 6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588" h="6096">
                  <a:moveTo>
                    <a:pt x="9351" y="848"/>
                  </a:moveTo>
                  <a:cubicBezTo>
                    <a:pt x="8431" y="28"/>
                    <a:pt x="6483" y="1805"/>
                    <a:pt x="6832" y="3597"/>
                  </a:cubicBezTo>
                  <a:cubicBezTo>
                    <a:pt x="6688" y="3993"/>
                    <a:pt x="6454" y="4101"/>
                    <a:pt x="6312" y="4119"/>
                  </a:cubicBezTo>
                  <a:cubicBezTo>
                    <a:pt x="5923" y="4168"/>
                    <a:pt x="5666" y="3742"/>
                    <a:pt x="4932" y="3977"/>
                  </a:cubicBezTo>
                  <a:cubicBezTo>
                    <a:pt x="5824" y="2907"/>
                    <a:pt x="6987" y="2091"/>
                    <a:pt x="6629" y="1522"/>
                  </a:cubicBezTo>
                  <a:cubicBezTo>
                    <a:pt x="6517" y="1344"/>
                    <a:pt x="6419" y="1292"/>
                    <a:pt x="6177" y="1412"/>
                  </a:cubicBezTo>
                  <a:cubicBezTo>
                    <a:pt x="5381" y="1804"/>
                    <a:pt x="4341" y="2073"/>
                    <a:pt x="4067" y="1880"/>
                  </a:cubicBezTo>
                  <a:cubicBezTo>
                    <a:pt x="4005" y="1625"/>
                    <a:pt x="3772" y="1584"/>
                    <a:pt x="3698" y="1683"/>
                  </a:cubicBezTo>
                  <a:cubicBezTo>
                    <a:pt x="3633" y="1768"/>
                    <a:pt x="3684" y="1882"/>
                    <a:pt x="3750" y="1975"/>
                  </a:cubicBezTo>
                  <a:cubicBezTo>
                    <a:pt x="3727" y="3144"/>
                    <a:pt x="3048" y="4671"/>
                    <a:pt x="2721" y="4588"/>
                  </a:cubicBezTo>
                  <a:cubicBezTo>
                    <a:pt x="2558" y="4545"/>
                    <a:pt x="2596" y="4242"/>
                    <a:pt x="2637" y="3938"/>
                  </a:cubicBezTo>
                  <a:cubicBezTo>
                    <a:pt x="2671" y="3682"/>
                    <a:pt x="2767" y="3400"/>
                    <a:pt x="2789" y="3312"/>
                  </a:cubicBezTo>
                  <a:cubicBezTo>
                    <a:pt x="2870" y="2989"/>
                    <a:pt x="2471" y="2934"/>
                    <a:pt x="2344" y="3180"/>
                  </a:cubicBezTo>
                  <a:cubicBezTo>
                    <a:pt x="2191" y="3477"/>
                    <a:pt x="2072" y="3844"/>
                    <a:pt x="1897" y="4130"/>
                  </a:cubicBezTo>
                  <a:cubicBezTo>
                    <a:pt x="1628" y="4577"/>
                    <a:pt x="1350" y="4905"/>
                    <a:pt x="1117" y="4803"/>
                  </a:cubicBezTo>
                  <a:cubicBezTo>
                    <a:pt x="846" y="4685"/>
                    <a:pt x="1007" y="4004"/>
                    <a:pt x="1390" y="3389"/>
                  </a:cubicBezTo>
                  <a:cubicBezTo>
                    <a:pt x="1743" y="2823"/>
                    <a:pt x="2071" y="2662"/>
                    <a:pt x="2263" y="2652"/>
                  </a:cubicBezTo>
                  <a:cubicBezTo>
                    <a:pt x="2518" y="2638"/>
                    <a:pt x="2582" y="2823"/>
                    <a:pt x="2701" y="2779"/>
                  </a:cubicBezTo>
                  <a:cubicBezTo>
                    <a:pt x="2839" y="2730"/>
                    <a:pt x="2823" y="2412"/>
                    <a:pt x="2504" y="2281"/>
                  </a:cubicBezTo>
                  <a:cubicBezTo>
                    <a:pt x="1917" y="2041"/>
                    <a:pt x="1009" y="2690"/>
                    <a:pt x="569" y="3564"/>
                  </a:cubicBezTo>
                  <a:cubicBezTo>
                    <a:pt x="92" y="4512"/>
                    <a:pt x="0" y="5743"/>
                    <a:pt x="546" y="5934"/>
                  </a:cubicBezTo>
                  <a:cubicBezTo>
                    <a:pt x="1003" y="6096"/>
                    <a:pt x="1605" y="5357"/>
                    <a:pt x="1841" y="4848"/>
                  </a:cubicBezTo>
                  <a:cubicBezTo>
                    <a:pt x="1854" y="5120"/>
                    <a:pt x="1924" y="5511"/>
                    <a:pt x="2281" y="5566"/>
                  </a:cubicBezTo>
                  <a:cubicBezTo>
                    <a:pt x="2940" y="5669"/>
                    <a:pt x="3948" y="3725"/>
                    <a:pt x="4028" y="2206"/>
                  </a:cubicBezTo>
                  <a:cubicBezTo>
                    <a:pt x="4324" y="2445"/>
                    <a:pt x="5357" y="2398"/>
                    <a:pt x="6038" y="2093"/>
                  </a:cubicBezTo>
                  <a:cubicBezTo>
                    <a:pt x="5460" y="2764"/>
                    <a:pt x="4062" y="4098"/>
                    <a:pt x="3818" y="4451"/>
                  </a:cubicBezTo>
                  <a:cubicBezTo>
                    <a:pt x="3574" y="4804"/>
                    <a:pt x="3476" y="5028"/>
                    <a:pt x="3662" y="5160"/>
                  </a:cubicBezTo>
                  <a:cubicBezTo>
                    <a:pt x="3803" y="5260"/>
                    <a:pt x="3897" y="5125"/>
                    <a:pt x="4046" y="4979"/>
                  </a:cubicBezTo>
                  <a:cubicBezTo>
                    <a:pt x="4730" y="4311"/>
                    <a:pt x="5043" y="4637"/>
                    <a:pt x="5541" y="4709"/>
                  </a:cubicBezTo>
                  <a:cubicBezTo>
                    <a:pt x="5936" y="4767"/>
                    <a:pt x="6607" y="4679"/>
                    <a:pt x="6943" y="3936"/>
                  </a:cubicBezTo>
                  <a:cubicBezTo>
                    <a:pt x="7154" y="4219"/>
                    <a:pt x="7519" y="4308"/>
                    <a:pt x="7813" y="4314"/>
                  </a:cubicBezTo>
                  <a:cubicBezTo>
                    <a:pt x="8924" y="4331"/>
                    <a:pt x="10162" y="2804"/>
                    <a:pt x="10525" y="1055"/>
                  </a:cubicBezTo>
                  <a:cubicBezTo>
                    <a:pt x="10945" y="1254"/>
                    <a:pt x="10774" y="1724"/>
                    <a:pt x="10657" y="2235"/>
                  </a:cubicBezTo>
                  <a:cubicBezTo>
                    <a:pt x="10525" y="2807"/>
                    <a:pt x="10550" y="3368"/>
                    <a:pt x="10909" y="3539"/>
                  </a:cubicBezTo>
                  <a:cubicBezTo>
                    <a:pt x="11724" y="3927"/>
                    <a:pt x="12533" y="2542"/>
                    <a:pt x="12581" y="1902"/>
                  </a:cubicBezTo>
                  <a:cubicBezTo>
                    <a:pt x="12588" y="1797"/>
                    <a:pt x="12564" y="1717"/>
                    <a:pt x="12517" y="1701"/>
                  </a:cubicBezTo>
                  <a:cubicBezTo>
                    <a:pt x="12463" y="1681"/>
                    <a:pt x="12414" y="1730"/>
                    <a:pt x="12386" y="1812"/>
                  </a:cubicBezTo>
                  <a:cubicBezTo>
                    <a:pt x="12244" y="2240"/>
                    <a:pt x="11822" y="2840"/>
                    <a:pt x="11500" y="2750"/>
                  </a:cubicBezTo>
                  <a:cubicBezTo>
                    <a:pt x="11097" y="2638"/>
                    <a:pt x="11484" y="1762"/>
                    <a:pt x="11387" y="1219"/>
                  </a:cubicBezTo>
                  <a:cubicBezTo>
                    <a:pt x="11311" y="800"/>
                    <a:pt x="10894" y="652"/>
                    <a:pt x="10665" y="468"/>
                  </a:cubicBezTo>
                  <a:cubicBezTo>
                    <a:pt x="10668" y="91"/>
                    <a:pt x="10444" y="0"/>
                    <a:pt x="10406" y="227"/>
                  </a:cubicBezTo>
                  <a:cubicBezTo>
                    <a:pt x="9991" y="2763"/>
                    <a:pt x="8674" y="3863"/>
                    <a:pt x="7936" y="3603"/>
                  </a:cubicBezTo>
                  <a:cubicBezTo>
                    <a:pt x="7441" y="3427"/>
                    <a:pt x="7550" y="2645"/>
                    <a:pt x="7761" y="2121"/>
                  </a:cubicBezTo>
                  <a:cubicBezTo>
                    <a:pt x="8003" y="1521"/>
                    <a:pt x="8495" y="1150"/>
                    <a:pt x="8696" y="1332"/>
                  </a:cubicBezTo>
                  <a:cubicBezTo>
                    <a:pt x="8910" y="1527"/>
                    <a:pt x="8567" y="2293"/>
                    <a:pt x="8034" y="2470"/>
                  </a:cubicBezTo>
                  <a:cubicBezTo>
                    <a:pt x="7904" y="2513"/>
                    <a:pt x="7890" y="2580"/>
                    <a:pt x="7904" y="2625"/>
                  </a:cubicBezTo>
                  <a:cubicBezTo>
                    <a:pt x="7924" y="2688"/>
                    <a:pt x="8020" y="2722"/>
                    <a:pt x="8147" y="2701"/>
                  </a:cubicBezTo>
                  <a:cubicBezTo>
                    <a:pt x="9272" y="2522"/>
                    <a:pt x="9854" y="1297"/>
                    <a:pt x="9351" y="8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6" name="Päivämäärän paikkamerkki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A39CDA5-6BE2-4BED-8CB5-68243AEF15C0}" type="datetime1">
              <a:rPr lang="fi-FI" smtClean="0"/>
              <a:t>5.6.2024</a:t>
            </a:fld>
            <a:endParaRPr lang="fi-FI" dirty="0"/>
          </a:p>
        </p:txBody>
      </p:sp>
      <p:sp>
        <p:nvSpPr>
          <p:cNvPr id="9" name="Alatunnisteen paikkamerkki 8"/>
          <p:cNvSpPr>
            <a:spLocks noGrp="1"/>
          </p:cNvSpPr>
          <p:nvPr>
            <p:ph type="ftr" sz="quarter" idx="11"/>
          </p:nvPr>
        </p:nvSpPr>
        <p:spPr>
          <a:xfrm>
            <a:off x="5828606" y="4839606"/>
            <a:ext cx="3099393" cy="108347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rgbClr val="FFFFFF"/>
                </a:solidFill>
              </a:defRPr>
            </a:lvl1pPr>
          </a:lstStyle>
          <a:p>
            <a:r>
              <a:rPr lang="en-US"/>
              <a:t>Company confidential © Fazer. All rights reserved</a:t>
            </a:r>
            <a:endParaRPr lang="en-US" dirty="0"/>
          </a:p>
        </p:txBody>
      </p:sp>
      <p:sp>
        <p:nvSpPr>
          <p:cNvPr id="18" name="Dian numeron paikkamerkki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64C005B-602C-4344-ACAE-E28C9D614DA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grpSp>
        <p:nvGrpSpPr>
          <p:cNvPr id="20" name="Ryhmä 9">
            <a:extLst>
              <a:ext uri="{FF2B5EF4-FFF2-40B4-BE49-F238E27FC236}">
                <a16:creationId xmlns:a16="http://schemas.microsoft.com/office/drawing/2014/main" id="{16BF6447-D579-A247-897C-26C9707750FF}"/>
              </a:ext>
            </a:extLst>
          </p:cNvPr>
          <p:cNvGrpSpPr/>
          <p:nvPr userDrawn="1"/>
        </p:nvGrpSpPr>
        <p:grpSpPr>
          <a:xfrm>
            <a:off x="429904" y="424077"/>
            <a:ext cx="1624084" cy="1621963"/>
            <a:chOff x="8127242" y="116975"/>
            <a:chExt cx="871657" cy="870519"/>
          </a:xfrm>
        </p:grpSpPr>
        <p:sp>
          <p:nvSpPr>
            <p:cNvPr id="21" name="Freeform 5">
              <a:extLst>
                <a:ext uri="{FF2B5EF4-FFF2-40B4-BE49-F238E27FC236}">
                  <a16:creationId xmlns:a16="http://schemas.microsoft.com/office/drawing/2014/main" id="{D88FEA1C-4880-8642-8C59-AAF8F6AA13C5}"/>
                </a:ext>
              </a:extLst>
            </p:cNvPr>
            <p:cNvSpPr>
              <a:spLocks/>
            </p:cNvSpPr>
            <p:nvPr/>
          </p:nvSpPr>
          <p:spPr bwMode="white">
            <a:xfrm>
              <a:off x="8128948" y="118681"/>
              <a:ext cx="868434" cy="867107"/>
            </a:xfrm>
            <a:custGeom>
              <a:avLst/>
              <a:gdLst>
                <a:gd name="T0" fmla="*/ 20157 w 20157"/>
                <a:gd name="T1" fmla="*/ 10078 h 20156"/>
                <a:gd name="T2" fmla="*/ 10079 w 20157"/>
                <a:gd name="T3" fmla="*/ 20156 h 20156"/>
                <a:gd name="T4" fmla="*/ 0 w 20157"/>
                <a:gd name="T5" fmla="*/ 10078 h 20156"/>
                <a:gd name="T6" fmla="*/ 10079 w 20157"/>
                <a:gd name="T7" fmla="*/ 0 h 20156"/>
                <a:gd name="T8" fmla="*/ 20157 w 20157"/>
                <a:gd name="T9" fmla="*/ 10078 h 20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157" h="20156">
                  <a:moveTo>
                    <a:pt x="20157" y="10078"/>
                  </a:moveTo>
                  <a:cubicBezTo>
                    <a:pt x="20157" y="15644"/>
                    <a:pt x="15644" y="20156"/>
                    <a:pt x="10079" y="20156"/>
                  </a:cubicBezTo>
                  <a:cubicBezTo>
                    <a:pt x="4512" y="20156"/>
                    <a:pt x="0" y="15644"/>
                    <a:pt x="0" y="10078"/>
                  </a:cubicBezTo>
                  <a:cubicBezTo>
                    <a:pt x="0" y="4512"/>
                    <a:pt x="4512" y="0"/>
                    <a:pt x="10079" y="0"/>
                  </a:cubicBezTo>
                  <a:cubicBezTo>
                    <a:pt x="15644" y="0"/>
                    <a:pt x="20157" y="4512"/>
                    <a:pt x="20157" y="100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2C43DCD3-7E30-CC49-B94A-770D61BE9FAC}"/>
                </a:ext>
              </a:extLst>
            </p:cNvPr>
            <p:cNvSpPr>
              <a:spLocks/>
            </p:cNvSpPr>
            <p:nvPr/>
          </p:nvSpPr>
          <p:spPr bwMode="black">
            <a:xfrm>
              <a:off x="8141460" y="131003"/>
              <a:ext cx="843411" cy="842462"/>
            </a:xfrm>
            <a:custGeom>
              <a:avLst/>
              <a:gdLst>
                <a:gd name="T0" fmla="*/ 19577 w 19577"/>
                <a:gd name="T1" fmla="*/ 9788 h 19576"/>
                <a:gd name="T2" fmla="*/ 9789 w 19577"/>
                <a:gd name="T3" fmla="*/ 19576 h 19576"/>
                <a:gd name="T4" fmla="*/ 0 w 19577"/>
                <a:gd name="T5" fmla="*/ 9788 h 19576"/>
                <a:gd name="T6" fmla="*/ 9789 w 19577"/>
                <a:gd name="T7" fmla="*/ 0 h 19576"/>
                <a:gd name="T8" fmla="*/ 19577 w 19577"/>
                <a:gd name="T9" fmla="*/ 9788 h 19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77" h="19576">
                  <a:moveTo>
                    <a:pt x="19577" y="9788"/>
                  </a:moveTo>
                  <a:cubicBezTo>
                    <a:pt x="19577" y="15194"/>
                    <a:pt x="15194" y="19576"/>
                    <a:pt x="9789" y="19576"/>
                  </a:cubicBezTo>
                  <a:cubicBezTo>
                    <a:pt x="4382" y="19576"/>
                    <a:pt x="0" y="15194"/>
                    <a:pt x="0" y="9788"/>
                  </a:cubicBezTo>
                  <a:cubicBezTo>
                    <a:pt x="0" y="4382"/>
                    <a:pt x="4382" y="0"/>
                    <a:pt x="9789" y="0"/>
                  </a:cubicBezTo>
                  <a:cubicBezTo>
                    <a:pt x="15194" y="0"/>
                    <a:pt x="19577" y="4382"/>
                    <a:pt x="19577" y="9788"/>
                  </a:cubicBezTo>
                  <a:close/>
                </a:path>
              </a:pathLst>
            </a:custGeom>
            <a:solidFill>
              <a:srgbClr val="1525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3" name="AutoShape 3">
              <a:extLst>
                <a:ext uri="{FF2B5EF4-FFF2-40B4-BE49-F238E27FC236}">
                  <a16:creationId xmlns:a16="http://schemas.microsoft.com/office/drawing/2014/main" id="{2AA17CE7-33C9-1F4C-A220-DDCC3CDBA75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hidden">
            <a:xfrm>
              <a:off x="8127242" y="116975"/>
              <a:ext cx="871657" cy="8705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4" name="Freeform 7">
              <a:extLst>
                <a:ext uri="{FF2B5EF4-FFF2-40B4-BE49-F238E27FC236}">
                  <a16:creationId xmlns:a16="http://schemas.microsoft.com/office/drawing/2014/main" id="{F4F6B700-DBD0-3847-A17B-1EABCAE14160}"/>
                </a:ext>
              </a:extLst>
            </p:cNvPr>
            <p:cNvSpPr>
              <a:spLocks/>
            </p:cNvSpPr>
            <p:nvPr/>
          </p:nvSpPr>
          <p:spPr bwMode="white">
            <a:xfrm>
              <a:off x="8363260" y="591666"/>
              <a:ext cx="475260" cy="293080"/>
            </a:xfrm>
            <a:custGeom>
              <a:avLst/>
              <a:gdLst>
                <a:gd name="T0" fmla="*/ 10290 w 11030"/>
                <a:gd name="T1" fmla="*/ 76 h 6809"/>
                <a:gd name="T2" fmla="*/ 10869 w 11030"/>
                <a:gd name="T3" fmla="*/ 1274 h 6809"/>
                <a:gd name="T4" fmla="*/ 149 w 11030"/>
                <a:gd name="T5" fmla="*/ 3905 h 6809"/>
                <a:gd name="T6" fmla="*/ 23 w 11030"/>
                <a:gd name="T7" fmla="*/ 3696 h 6809"/>
                <a:gd name="T8" fmla="*/ 201 w 11030"/>
                <a:gd name="T9" fmla="*/ 3719 h 6809"/>
                <a:gd name="T10" fmla="*/ 9259 w 11030"/>
                <a:gd name="T11" fmla="*/ 812 h 6809"/>
                <a:gd name="T12" fmla="*/ 10290 w 11030"/>
                <a:gd name="T13" fmla="*/ 76 h 6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030" h="6809">
                  <a:moveTo>
                    <a:pt x="10290" y="76"/>
                  </a:moveTo>
                  <a:cubicBezTo>
                    <a:pt x="10826" y="166"/>
                    <a:pt x="11030" y="749"/>
                    <a:pt x="10869" y="1274"/>
                  </a:cubicBezTo>
                  <a:cubicBezTo>
                    <a:pt x="9736" y="4966"/>
                    <a:pt x="3442" y="6809"/>
                    <a:pt x="149" y="3905"/>
                  </a:cubicBezTo>
                  <a:cubicBezTo>
                    <a:pt x="27" y="3798"/>
                    <a:pt x="0" y="3735"/>
                    <a:pt x="23" y="3696"/>
                  </a:cubicBezTo>
                  <a:cubicBezTo>
                    <a:pt x="37" y="3671"/>
                    <a:pt x="85" y="3640"/>
                    <a:pt x="201" y="3719"/>
                  </a:cubicBezTo>
                  <a:cubicBezTo>
                    <a:pt x="3791" y="6181"/>
                    <a:pt x="8235" y="3695"/>
                    <a:pt x="9259" y="812"/>
                  </a:cubicBezTo>
                  <a:cubicBezTo>
                    <a:pt x="9467" y="226"/>
                    <a:pt x="9832" y="0"/>
                    <a:pt x="10290" y="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5" name="Freeform 8">
              <a:extLst>
                <a:ext uri="{FF2B5EF4-FFF2-40B4-BE49-F238E27FC236}">
                  <a16:creationId xmlns:a16="http://schemas.microsoft.com/office/drawing/2014/main" id="{690C4EBD-8F02-2A4A-B60C-6A65034F67A1}"/>
                </a:ext>
              </a:extLst>
            </p:cNvPr>
            <p:cNvSpPr>
              <a:spLocks/>
            </p:cNvSpPr>
            <p:nvPr/>
          </p:nvSpPr>
          <p:spPr bwMode="white">
            <a:xfrm>
              <a:off x="8229611" y="270719"/>
              <a:ext cx="351468" cy="168341"/>
            </a:xfrm>
            <a:custGeom>
              <a:avLst/>
              <a:gdLst>
                <a:gd name="T0" fmla="*/ 58 w 8157"/>
                <a:gd name="T1" fmla="*/ 3881 h 3911"/>
                <a:gd name="T2" fmla="*/ 42 w 8157"/>
                <a:gd name="T3" fmla="*/ 3757 h 3911"/>
                <a:gd name="T4" fmla="*/ 7928 w 8157"/>
                <a:gd name="T5" fmla="*/ 315 h 3911"/>
                <a:gd name="T6" fmla="*/ 8123 w 8157"/>
                <a:gd name="T7" fmla="*/ 374 h 3911"/>
                <a:gd name="T8" fmla="*/ 212 w 8157"/>
                <a:gd name="T9" fmla="*/ 3827 h 3911"/>
                <a:gd name="T10" fmla="*/ 58 w 8157"/>
                <a:gd name="T11" fmla="*/ 3881 h 39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57" h="3911">
                  <a:moveTo>
                    <a:pt x="58" y="3881"/>
                  </a:moveTo>
                  <a:cubicBezTo>
                    <a:pt x="25" y="3858"/>
                    <a:pt x="0" y="3858"/>
                    <a:pt x="42" y="3757"/>
                  </a:cubicBezTo>
                  <a:cubicBezTo>
                    <a:pt x="1218" y="860"/>
                    <a:pt x="6681" y="2044"/>
                    <a:pt x="7928" y="315"/>
                  </a:cubicBezTo>
                  <a:cubicBezTo>
                    <a:pt x="8157" y="0"/>
                    <a:pt x="8155" y="244"/>
                    <a:pt x="8123" y="374"/>
                  </a:cubicBezTo>
                  <a:cubicBezTo>
                    <a:pt x="7331" y="3484"/>
                    <a:pt x="2144" y="1519"/>
                    <a:pt x="212" y="3827"/>
                  </a:cubicBezTo>
                  <a:cubicBezTo>
                    <a:pt x="171" y="3875"/>
                    <a:pt x="99" y="3911"/>
                    <a:pt x="58" y="38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6" name="Freeform 9">
              <a:extLst>
                <a:ext uri="{FF2B5EF4-FFF2-40B4-BE49-F238E27FC236}">
                  <a16:creationId xmlns:a16="http://schemas.microsoft.com/office/drawing/2014/main" id="{59D00EE8-55D9-C84E-BB10-E94EB628E42A}"/>
                </a:ext>
              </a:extLst>
            </p:cNvPr>
            <p:cNvSpPr>
              <a:spLocks/>
            </p:cNvSpPr>
            <p:nvPr/>
          </p:nvSpPr>
          <p:spPr bwMode="white">
            <a:xfrm>
              <a:off x="8237005" y="392425"/>
              <a:ext cx="157725" cy="368719"/>
            </a:xfrm>
            <a:custGeom>
              <a:avLst/>
              <a:gdLst>
                <a:gd name="T0" fmla="*/ 3645 w 3661"/>
                <a:gd name="T1" fmla="*/ 2724 h 8570"/>
                <a:gd name="T2" fmla="*/ 3288 w 3661"/>
                <a:gd name="T3" fmla="*/ 2624 h 8570"/>
                <a:gd name="T4" fmla="*/ 1665 w 3661"/>
                <a:gd name="T5" fmla="*/ 3390 h 8570"/>
                <a:gd name="T6" fmla="*/ 2367 w 3661"/>
                <a:gd name="T7" fmla="*/ 371 h 8570"/>
                <a:gd name="T8" fmla="*/ 809 w 3661"/>
                <a:gd name="T9" fmla="*/ 4293 h 8570"/>
                <a:gd name="T10" fmla="*/ 459 w 3661"/>
                <a:gd name="T11" fmla="*/ 8450 h 8570"/>
                <a:gd name="T12" fmla="*/ 1545 w 3661"/>
                <a:gd name="T13" fmla="*/ 4521 h 8570"/>
                <a:gd name="T14" fmla="*/ 3418 w 3661"/>
                <a:gd name="T15" fmla="*/ 3003 h 8570"/>
                <a:gd name="T16" fmla="*/ 3645 w 3661"/>
                <a:gd name="T17" fmla="*/ 2724 h 8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61" h="8570">
                  <a:moveTo>
                    <a:pt x="3645" y="2724"/>
                  </a:moveTo>
                  <a:cubicBezTo>
                    <a:pt x="3618" y="2614"/>
                    <a:pt x="3485" y="2592"/>
                    <a:pt x="3288" y="2624"/>
                  </a:cubicBezTo>
                  <a:cubicBezTo>
                    <a:pt x="3077" y="2657"/>
                    <a:pt x="2521" y="2753"/>
                    <a:pt x="1665" y="3390"/>
                  </a:cubicBezTo>
                  <a:cubicBezTo>
                    <a:pt x="1956" y="960"/>
                    <a:pt x="2385" y="513"/>
                    <a:pt x="2367" y="371"/>
                  </a:cubicBezTo>
                  <a:cubicBezTo>
                    <a:pt x="2325" y="33"/>
                    <a:pt x="1437" y="0"/>
                    <a:pt x="809" y="4293"/>
                  </a:cubicBezTo>
                  <a:cubicBezTo>
                    <a:pt x="163" y="5873"/>
                    <a:pt x="0" y="8356"/>
                    <a:pt x="459" y="8450"/>
                  </a:cubicBezTo>
                  <a:cubicBezTo>
                    <a:pt x="1053" y="8570"/>
                    <a:pt x="1323" y="6323"/>
                    <a:pt x="1545" y="4521"/>
                  </a:cubicBezTo>
                  <a:cubicBezTo>
                    <a:pt x="1994" y="3733"/>
                    <a:pt x="2950" y="3228"/>
                    <a:pt x="3418" y="3003"/>
                  </a:cubicBezTo>
                  <a:cubicBezTo>
                    <a:pt x="3629" y="2901"/>
                    <a:pt x="3661" y="2790"/>
                    <a:pt x="3645" y="27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7" name="Freeform 10">
              <a:extLst>
                <a:ext uri="{FF2B5EF4-FFF2-40B4-BE49-F238E27FC236}">
                  <a16:creationId xmlns:a16="http://schemas.microsoft.com/office/drawing/2014/main" id="{2615531E-C75C-C447-A201-ACF1AF41FC7B}"/>
                </a:ext>
              </a:extLst>
            </p:cNvPr>
            <p:cNvSpPr>
              <a:spLocks/>
            </p:cNvSpPr>
            <p:nvPr/>
          </p:nvSpPr>
          <p:spPr bwMode="white">
            <a:xfrm>
              <a:off x="8377858" y="385789"/>
              <a:ext cx="542179" cy="262179"/>
            </a:xfrm>
            <a:custGeom>
              <a:avLst/>
              <a:gdLst>
                <a:gd name="T0" fmla="*/ 9351 w 12588"/>
                <a:gd name="T1" fmla="*/ 848 h 6096"/>
                <a:gd name="T2" fmla="*/ 6832 w 12588"/>
                <a:gd name="T3" fmla="*/ 3597 h 6096"/>
                <a:gd name="T4" fmla="*/ 6312 w 12588"/>
                <a:gd name="T5" fmla="*/ 4119 h 6096"/>
                <a:gd name="T6" fmla="*/ 4932 w 12588"/>
                <a:gd name="T7" fmla="*/ 3977 h 6096"/>
                <a:gd name="T8" fmla="*/ 6629 w 12588"/>
                <a:gd name="T9" fmla="*/ 1522 h 6096"/>
                <a:gd name="T10" fmla="*/ 6177 w 12588"/>
                <a:gd name="T11" fmla="*/ 1412 h 6096"/>
                <a:gd name="T12" fmla="*/ 4067 w 12588"/>
                <a:gd name="T13" fmla="*/ 1880 h 6096"/>
                <a:gd name="T14" fmla="*/ 3698 w 12588"/>
                <a:gd name="T15" fmla="*/ 1683 h 6096"/>
                <a:gd name="T16" fmla="*/ 3750 w 12588"/>
                <a:gd name="T17" fmla="*/ 1975 h 6096"/>
                <a:gd name="T18" fmla="*/ 2721 w 12588"/>
                <a:gd name="T19" fmla="*/ 4588 h 6096"/>
                <a:gd name="T20" fmla="*/ 2637 w 12588"/>
                <a:gd name="T21" fmla="*/ 3938 h 6096"/>
                <a:gd name="T22" fmla="*/ 2789 w 12588"/>
                <a:gd name="T23" fmla="*/ 3312 h 6096"/>
                <a:gd name="T24" fmla="*/ 2344 w 12588"/>
                <a:gd name="T25" fmla="*/ 3180 h 6096"/>
                <a:gd name="T26" fmla="*/ 1897 w 12588"/>
                <a:gd name="T27" fmla="*/ 4130 h 6096"/>
                <a:gd name="T28" fmla="*/ 1117 w 12588"/>
                <a:gd name="T29" fmla="*/ 4803 h 6096"/>
                <a:gd name="T30" fmla="*/ 1390 w 12588"/>
                <a:gd name="T31" fmla="*/ 3389 h 6096"/>
                <a:gd name="T32" fmla="*/ 2263 w 12588"/>
                <a:gd name="T33" fmla="*/ 2652 h 6096"/>
                <a:gd name="T34" fmla="*/ 2701 w 12588"/>
                <a:gd name="T35" fmla="*/ 2779 h 6096"/>
                <a:gd name="T36" fmla="*/ 2504 w 12588"/>
                <a:gd name="T37" fmla="*/ 2281 h 6096"/>
                <a:gd name="T38" fmla="*/ 569 w 12588"/>
                <a:gd name="T39" fmla="*/ 3564 h 6096"/>
                <a:gd name="T40" fmla="*/ 546 w 12588"/>
                <a:gd name="T41" fmla="*/ 5934 h 6096"/>
                <a:gd name="T42" fmla="*/ 1841 w 12588"/>
                <a:gd name="T43" fmla="*/ 4848 h 6096"/>
                <a:gd name="T44" fmla="*/ 2281 w 12588"/>
                <a:gd name="T45" fmla="*/ 5566 h 6096"/>
                <a:gd name="T46" fmla="*/ 4028 w 12588"/>
                <a:gd name="T47" fmla="*/ 2206 h 6096"/>
                <a:gd name="T48" fmla="*/ 6038 w 12588"/>
                <a:gd name="T49" fmla="*/ 2093 h 6096"/>
                <a:gd name="T50" fmla="*/ 3818 w 12588"/>
                <a:gd name="T51" fmla="*/ 4451 h 6096"/>
                <a:gd name="T52" fmla="*/ 3662 w 12588"/>
                <a:gd name="T53" fmla="*/ 5160 h 6096"/>
                <a:gd name="T54" fmla="*/ 4046 w 12588"/>
                <a:gd name="T55" fmla="*/ 4979 h 6096"/>
                <a:gd name="T56" fmla="*/ 5541 w 12588"/>
                <a:gd name="T57" fmla="*/ 4709 h 6096"/>
                <a:gd name="T58" fmla="*/ 6943 w 12588"/>
                <a:gd name="T59" fmla="*/ 3936 h 6096"/>
                <a:gd name="T60" fmla="*/ 7813 w 12588"/>
                <a:gd name="T61" fmla="*/ 4314 h 6096"/>
                <a:gd name="T62" fmla="*/ 10525 w 12588"/>
                <a:gd name="T63" fmla="*/ 1055 h 6096"/>
                <a:gd name="T64" fmla="*/ 10657 w 12588"/>
                <a:gd name="T65" fmla="*/ 2235 h 6096"/>
                <a:gd name="T66" fmla="*/ 10909 w 12588"/>
                <a:gd name="T67" fmla="*/ 3539 h 6096"/>
                <a:gd name="T68" fmla="*/ 12581 w 12588"/>
                <a:gd name="T69" fmla="*/ 1902 h 6096"/>
                <a:gd name="T70" fmla="*/ 12517 w 12588"/>
                <a:gd name="T71" fmla="*/ 1701 h 6096"/>
                <a:gd name="T72" fmla="*/ 12386 w 12588"/>
                <a:gd name="T73" fmla="*/ 1812 h 6096"/>
                <a:gd name="T74" fmla="*/ 11500 w 12588"/>
                <a:gd name="T75" fmla="*/ 2750 h 6096"/>
                <a:gd name="T76" fmla="*/ 11387 w 12588"/>
                <a:gd name="T77" fmla="*/ 1219 h 6096"/>
                <a:gd name="T78" fmla="*/ 10665 w 12588"/>
                <a:gd name="T79" fmla="*/ 468 h 6096"/>
                <a:gd name="T80" fmla="*/ 10406 w 12588"/>
                <a:gd name="T81" fmla="*/ 227 h 6096"/>
                <a:gd name="T82" fmla="*/ 7936 w 12588"/>
                <a:gd name="T83" fmla="*/ 3603 h 6096"/>
                <a:gd name="T84" fmla="*/ 7761 w 12588"/>
                <a:gd name="T85" fmla="*/ 2121 h 6096"/>
                <a:gd name="T86" fmla="*/ 8696 w 12588"/>
                <a:gd name="T87" fmla="*/ 1332 h 6096"/>
                <a:gd name="T88" fmla="*/ 8034 w 12588"/>
                <a:gd name="T89" fmla="*/ 2470 h 6096"/>
                <a:gd name="T90" fmla="*/ 7904 w 12588"/>
                <a:gd name="T91" fmla="*/ 2625 h 6096"/>
                <a:gd name="T92" fmla="*/ 8147 w 12588"/>
                <a:gd name="T93" fmla="*/ 2701 h 6096"/>
                <a:gd name="T94" fmla="*/ 9351 w 12588"/>
                <a:gd name="T95" fmla="*/ 848 h 6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588" h="6096">
                  <a:moveTo>
                    <a:pt x="9351" y="848"/>
                  </a:moveTo>
                  <a:cubicBezTo>
                    <a:pt x="8431" y="28"/>
                    <a:pt x="6483" y="1805"/>
                    <a:pt x="6832" y="3597"/>
                  </a:cubicBezTo>
                  <a:cubicBezTo>
                    <a:pt x="6688" y="3993"/>
                    <a:pt x="6454" y="4101"/>
                    <a:pt x="6312" y="4119"/>
                  </a:cubicBezTo>
                  <a:cubicBezTo>
                    <a:pt x="5923" y="4168"/>
                    <a:pt x="5666" y="3742"/>
                    <a:pt x="4932" y="3977"/>
                  </a:cubicBezTo>
                  <a:cubicBezTo>
                    <a:pt x="5824" y="2907"/>
                    <a:pt x="6987" y="2091"/>
                    <a:pt x="6629" y="1522"/>
                  </a:cubicBezTo>
                  <a:cubicBezTo>
                    <a:pt x="6517" y="1344"/>
                    <a:pt x="6419" y="1292"/>
                    <a:pt x="6177" y="1412"/>
                  </a:cubicBezTo>
                  <a:cubicBezTo>
                    <a:pt x="5381" y="1804"/>
                    <a:pt x="4341" y="2073"/>
                    <a:pt x="4067" y="1880"/>
                  </a:cubicBezTo>
                  <a:cubicBezTo>
                    <a:pt x="4005" y="1625"/>
                    <a:pt x="3772" y="1584"/>
                    <a:pt x="3698" y="1683"/>
                  </a:cubicBezTo>
                  <a:cubicBezTo>
                    <a:pt x="3633" y="1768"/>
                    <a:pt x="3684" y="1882"/>
                    <a:pt x="3750" y="1975"/>
                  </a:cubicBezTo>
                  <a:cubicBezTo>
                    <a:pt x="3727" y="3144"/>
                    <a:pt x="3048" y="4671"/>
                    <a:pt x="2721" y="4588"/>
                  </a:cubicBezTo>
                  <a:cubicBezTo>
                    <a:pt x="2558" y="4545"/>
                    <a:pt x="2596" y="4242"/>
                    <a:pt x="2637" y="3938"/>
                  </a:cubicBezTo>
                  <a:cubicBezTo>
                    <a:pt x="2671" y="3682"/>
                    <a:pt x="2767" y="3400"/>
                    <a:pt x="2789" y="3312"/>
                  </a:cubicBezTo>
                  <a:cubicBezTo>
                    <a:pt x="2870" y="2989"/>
                    <a:pt x="2471" y="2934"/>
                    <a:pt x="2344" y="3180"/>
                  </a:cubicBezTo>
                  <a:cubicBezTo>
                    <a:pt x="2191" y="3477"/>
                    <a:pt x="2072" y="3844"/>
                    <a:pt x="1897" y="4130"/>
                  </a:cubicBezTo>
                  <a:cubicBezTo>
                    <a:pt x="1628" y="4577"/>
                    <a:pt x="1350" y="4905"/>
                    <a:pt x="1117" y="4803"/>
                  </a:cubicBezTo>
                  <a:cubicBezTo>
                    <a:pt x="846" y="4685"/>
                    <a:pt x="1007" y="4004"/>
                    <a:pt x="1390" y="3389"/>
                  </a:cubicBezTo>
                  <a:cubicBezTo>
                    <a:pt x="1743" y="2823"/>
                    <a:pt x="2071" y="2662"/>
                    <a:pt x="2263" y="2652"/>
                  </a:cubicBezTo>
                  <a:cubicBezTo>
                    <a:pt x="2518" y="2638"/>
                    <a:pt x="2582" y="2823"/>
                    <a:pt x="2701" y="2779"/>
                  </a:cubicBezTo>
                  <a:cubicBezTo>
                    <a:pt x="2839" y="2730"/>
                    <a:pt x="2823" y="2412"/>
                    <a:pt x="2504" y="2281"/>
                  </a:cubicBezTo>
                  <a:cubicBezTo>
                    <a:pt x="1917" y="2041"/>
                    <a:pt x="1009" y="2690"/>
                    <a:pt x="569" y="3564"/>
                  </a:cubicBezTo>
                  <a:cubicBezTo>
                    <a:pt x="92" y="4512"/>
                    <a:pt x="0" y="5743"/>
                    <a:pt x="546" y="5934"/>
                  </a:cubicBezTo>
                  <a:cubicBezTo>
                    <a:pt x="1003" y="6096"/>
                    <a:pt x="1605" y="5357"/>
                    <a:pt x="1841" y="4848"/>
                  </a:cubicBezTo>
                  <a:cubicBezTo>
                    <a:pt x="1854" y="5120"/>
                    <a:pt x="1924" y="5511"/>
                    <a:pt x="2281" y="5566"/>
                  </a:cubicBezTo>
                  <a:cubicBezTo>
                    <a:pt x="2940" y="5669"/>
                    <a:pt x="3948" y="3725"/>
                    <a:pt x="4028" y="2206"/>
                  </a:cubicBezTo>
                  <a:cubicBezTo>
                    <a:pt x="4324" y="2445"/>
                    <a:pt x="5357" y="2398"/>
                    <a:pt x="6038" y="2093"/>
                  </a:cubicBezTo>
                  <a:cubicBezTo>
                    <a:pt x="5460" y="2764"/>
                    <a:pt x="4062" y="4098"/>
                    <a:pt x="3818" y="4451"/>
                  </a:cubicBezTo>
                  <a:cubicBezTo>
                    <a:pt x="3574" y="4804"/>
                    <a:pt x="3476" y="5028"/>
                    <a:pt x="3662" y="5160"/>
                  </a:cubicBezTo>
                  <a:cubicBezTo>
                    <a:pt x="3803" y="5260"/>
                    <a:pt x="3897" y="5125"/>
                    <a:pt x="4046" y="4979"/>
                  </a:cubicBezTo>
                  <a:cubicBezTo>
                    <a:pt x="4730" y="4311"/>
                    <a:pt x="5043" y="4637"/>
                    <a:pt x="5541" y="4709"/>
                  </a:cubicBezTo>
                  <a:cubicBezTo>
                    <a:pt x="5936" y="4767"/>
                    <a:pt x="6607" y="4679"/>
                    <a:pt x="6943" y="3936"/>
                  </a:cubicBezTo>
                  <a:cubicBezTo>
                    <a:pt x="7154" y="4219"/>
                    <a:pt x="7519" y="4308"/>
                    <a:pt x="7813" y="4314"/>
                  </a:cubicBezTo>
                  <a:cubicBezTo>
                    <a:pt x="8924" y="4331"/>
                    <a:pt x="10162" y="2804"/>
                    <a:pt x="10525" y="1055"/>
                  </a:cubicBezTo>
                  <a:cubicBezTo>
                    <a:pt x="10945" y="1254"/>
                    <a:pt x="10774" y="1724"/>
                    <a:pt x="10657" y="2235"/>
                  </a:cubicBezTo>
                  <a:cubicBezTo>
                    <a:pt x="10525" y="2807"/>
                    <a:pt x="10550" y="3368"/>
                    <a:pt x="10909" y="3539"/>
                  </a:cubicBezTo>
                  <a:cubicBezTo>
                    <a:pt x="11724" y="3927"/>
                    <a:pt x="12533" y="2542"/>
                    <a:pt x="12581" y="1902"/>
                  </a:cubicBezTo>
                  <a:cubicBezTo>
                    <a:pt x="12588" y="1797"/>
                    <a:pt x="12564" y="1717"/>
                    <a:pt x="12517" y="1701"/>
                  </a:cubicBezTo>
                  <a:cubicBezTo>
                    <a:pt x="12463" y="1681"/>
                    <a:pt x="12414" y="1730"/>
                    <a:pt x="12386" y="1812"/>
                  </a:cubicBezTo>
                  <a:cubicBezTo>
                    <a:pt x="12244" y="2240"/>
                    <a:pt x="11822" y="2840"/>
                    <a:pt x="11500" y="2750"/>
                  </a:cubicBezTo>
                  <a:cubicBezTo>
                    <a:pt x="11097" y="2638"/>
                    <a:pt x="11484" y="1762"/>
                    <a:pt x="11387" y="1219"/>
                  </a:cubicBezTo>
                  <a:cubicBezTo>
                    <a:pt x="11311" y="800"/>
                    <a:pt x="10894" y="652"/>
                    <a:pt x="10665" y="468"/>
                  </a:cubicBezTo>
                  <a:cubicBezTo>
                    <a:pt x="10668" y="91"/>
                    <a:pt x="10444" y="0"/>
                    <a:pt x="10406" y="227"/>
                  </a:cubicBezTo>
                  <a:cubicBezTo>
                    <a:pt x="9991" y="2763"/>
                    <a:pt x="8674" y="3863"/>
                    <a:pt x="7936" y="3603"/>
                  </a:cubicBezTo>
                  <a:cubicBezTo>
                    <a:pt x="7441" y="3427"/>
                    <a:pt x="7550" y="2645"/>
                    <a:pt x="7761" y="2121"/>
                  </a:cubicBezTo>
                  <a:cubicBezTo>
                    <a:pt x="8003" y="1521"/>
                    <a:pt x="8495" y="1150"/>
                    <a:pt x="8696" y="1332"/>
                  </a:cubicBezTo>
                  <a:cubicBezTo>
                    <a:pt x="8910" y="1527"/>
                    <a:pt x="8567" y="2293"/>
                    <a:pt x="8034" y="2470"/>
                  </a:cubicBezTo>
                  <a:cubicBezTo>
                    <a:pt x="7904" y="2513"/>
                    <a:pt x="7890" y="2580"/>
                    <a:pt x="7904" y="2625"/>
                  </a:cubicBezTo>
                  <a:cubicBezTo>
                    <a:pt x="7924" y="2688"/>
                    <a:pt x="8020" y="2722"/>
                    <a:pt x="8147" y="2701"/>
                  </a:cubicBezTo>
                  <a:cubicBezTo>
                    <a:pt x="9272" y="2522"/>
                    <a:pt x="9854" y="1297"/>
                    <a:pt x="9351" y="8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3652517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lue">
    <p:bg>
      <p:bgPr>
        <a:solidFill>
          <a:srgbClr val="1125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3998" cy="5143498"/>
          </a:xfrm>
          <a:prstGeom prst="rect">
            <a:avLst/>
          </a:prstGeom>
        </p:spPr>
      </p:pic>
      <p:sp>
        <p:nvSpPr>
          <p:cNvPr id="10" name="Rectangle 29"/>
          <p:cNvSpPr>
            <a:spLocks noGrp="1" noChangeArrowheads="1"/>
          </p:cNvSpPr>
          <p:nvPr>
            <p:ph type="title"/>
          </p:nvPr>
        </p:nvSpPr>
        <p:spPr bwMode="auto">
          <a:xfrm>
            <a:off x="432000" y="195486"/>
            <a:ext cx="7114442" cy="23762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zh-CN"/>
              <a:t>Click to edit Master title style</a:t>
            </a:r>
            <a:endParaRPr lang="en-US" altLang="zh-CN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432000" y="2679764"/>
            <a:ext cx="7107927" cy="205222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9" name="Ryhmä 8"/>
          <p:cNvGrpSpPr/>
          <p:nvPr/>
        </p:nvGrpSpPr>
        <p:grpSpPr>
          <a:xfrm>
            <a:off x="8127242" y="116975"/>
            <a:ext cx="871657" cy="870519"/>
            <a:chOff x="8127242" y="116975"/>
            <a:chExt cx="871657" cy="870519"/>
          </a:xfrm>
        </p:grpSpPr>
        <p:sp>
          <p:nvSpPr>
            <p:cNvPr id="11" name="Freeform 5"/>
            <p:cNvSpPr>
              <a:spLocks/>
            </p:cNvSpPr>
            <p:nvPr/>
          </p:nvSpPr>
          <p:spPr bwMode="white">
            <a:xfrm>
              <a:off x="8128948" y="118681"/>
              <a:ext cx="868434" cy="867107"/>
            </a:xfrm>
            <a:custGeom>
              <a:avLst/>
              <a:gdLst>
                <a:gd name="T0" fmla="*/ 20157 w 20157"/>
                <a:gd name="T1" fmla="*/ 10078 h 20156"/>
                <a:gd name="T2" fmla="*/ 10079 w 20157"/>
                <a:gd name="T3" fmla="*/ 20156 h 20156"/>
                <a:gd name="T4" fmla="*/ 0 w 20157"/>
                <a:gd name="T5" fmla="*/ 10078 h 20156"/>
                <a:gd name="T6" fmla="*/ 10079 w 20157"/>
                <a:gd name="T7" fmla="*/ 0 h 20156"/>
                <a:gd name="T8" fmla="*/ 20157 w 20157"/>
                <a:gd name="T9" fmla="*/ 10078 h 20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157" h="20156">
                  <a:moveTo>
                    <a:pt x="20157" y="10078"/>
                  </a:moveTo>
                  <a:cubicBezTo>
                    <a:pt x="20157" y="15644"/>
                    <a:pt x="15644" y="20156"/>
                    <a:pt x="10079" y="20156"/>
                  </a:cubicBezTo>
                  <a:cubicBezTo>
                    <a:pt x="4512" y="20156"/>
                    <a:pt x="0" y="15644"/>
                    <a:pt x="0" y="10078"/>
                  </a:cubicBezTo>
                  <a:cubicBezTo>
                    <a:pt x="0" y="4512"/>
                    <a:pt x="4512" y="0"/>
                    <a:pt x="10079" y="0"/>
                  </a:cubicBezTo>
                  <a:cubicBezTo>
                    <a:pt x="15644" y="0"/>
                    <a:pt x="20157" y="4512"/>
                    <a:pt x="20157" y="100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2" name="Freeform 6"/>
            <p:cNvSpPr>
              <a:spLocks/>
            </p:cNvSpPr>
            <p:nvPr/>
          </p:nvSpPr>
          <p:spPr bwMode="black">
            <a:xfrm>
              <a:off x="8141460" y="131003"/>
              <a:ext cx="843411" cy="842462"/>
            </a:xfrm>
            <a:custGeom>
              <a:avLst/>
              <a:gdLst>
                <a:gd name="T0" fmla="*/ 19577 w 19577"/>
                <a:gd name="T1" fmla="*/ 9788 h 19576"/>
                <a:gd name="T2" fmla="*/ 9789 w 19577"/>
                <a:gd name="T3" fmla="*/ 19576 h 19576"/>
                <a:gd name="T4" fmla="*/ 0 w 19577"/>
                <a:gd name="T5" fmla="*/ 9788 h 19576"/>
                <a:gd name="T6" fmla="*/ 9789 w 19577"/>
                <a:gd name="T7" fmla="*/ 0 h 19576"/>
                <a:gd name="T8" fmla="*/ 19577 w 19577"/>
                <a:gd name="T9" fmla="*/ 9788 h 19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77" h="19576">
                  <a:moveTo>
                    <a:pt x="19577" y="9788"/>
                  </a:moveTo>
                  <a:cubicBezTo>
                    <a:pt x="19577" y="15194"/>
                    <a:pt x="15194" y="19576"/>
                    <a:pt x="9789" y="19576"/>
                  </a:cubicBezTo>
                  <a:cubicBezTo>
                    <a:pt x="4382" y="19576"/>
                    <a:pt x="0" y="15194"/>
                    <a:pt x="0" y="9788"/>
                  </a:cubicBezTo>
                  <a:cubicBezTo>
                    <a:pt x="0" y="4382"/>
                    <a:pt x="4382" y="0"/>
                    <a:pt x="9789" y="0"/>
                  </a:cubicBezTo>
                  <a:cubicBezTo>
                    <a:pt x="15194" y="0"/>
                    <a:pt x="19577" y="4382"/>
                    <a:pt x="19577" y="9788"/>
                  </a:cubicBezTo>
                  <a:close/>
                </a:path>
              </a:pathLst>
            </a:custGeom>
            <a:solidFill>
              <a:srgbClr val="1525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3" name="AutoShape 3"/>
            <p:cNvSpPr>
              <a:spLocks noChangeAspect="1" noChangeArrowheads="1" noTextEdit="1"/>
            </p:cNvSpPr>
            <p:nvPr/>
          </p:nvSpPr>
          <p:spPr bwMode="hidden">
            <a:xfrm>
              <a:off x="8127242" y="116975"/>
              <a:ext cx="871657" cy="8705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5" name="Freeform 7"/>
            <p:cNvSpPr>
              <a:spLocks/>
            </p:cNvSpPr>
            <p:nvPr/>
          </p:nvSpPr>
          <p:spPr bwMode="white">
            <a:xfrm>
              <a:off x="8363260" y="591666"/>
              <a:ext cx="475260" cy="293080"/>
            </a:xfrm>
            <a:custGeom>
              <a:avLst/>
              <a:gdLst>
                <a:gd name="T0" fmla="*/ 10290 w 11030"/>
                <a:gd name="T1" fmla="*/ 76 h 6809"/>
                <a:gd name="T2" fmla="*/ 10869 w 11030"/>
                <a:gd name="T3" fmla="*/ 1274 h 6809"/>
                <a:gd name="T4" fmla="*/ 149 w 11030"/>
                <a:gd name="T5" fmla="*/ 3905 h 6809"/>
                <a:gd name="T6" fmla="*/ 23 w 11030"/>
                <a:gd name="T7" fmla="*/ 3696 h 6809"/>
                <a:gd name="T8" fmla="*/ 201 w 11030"/>
                <a:gd name="T9" fmla="*/ 3719 h 6809"/>
                <a:gd name="T10" fmla="*/ 9259 w 11030"/>
                <a:gd name="T11" fmla="*/ 812 h 6809"/>
                <a:gd name="T12" fmla="*/ 10290 w 11030"/>
                <a:gd name="T13" fmla="*/ 76 h 6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030" h="6809">
                  <a:moveTo>
                    <a:pt x="10290" y="76"/>
                  </a:moveTo>
                  <a:cubicBezTo>
                    <a:pt x="10826" y="166"/>
                    <a:pt x="11030" y="749"/>
                    <a:pt x="10869" y="1274"/>
                  </a:cubicBezTo>
                  <a:cubicBezTo>
                    <a:pt x="9736" y="4966"/>
                    <a:pt x="3442" y="6809"/>
                    <a:pt x="149" y="3905"/>
                  </a:cubicBezTo>
                  <a:cubicBezTo>
                    <a:pt x="27" y="3798"/>
                    <a:pt x="0" y="3735"/>
                    <a:pt x="23" y="3696"/>
                  </a:cubicBezTo>
                  <a:cubicBezTo>
                    <a:pt x="37" y="3671"/>
                    <a:pt x="85" y="3640"/>
                    <a:pt x="201" y="3719"/>
                  </a:cubicBezTo>
                  <a:cubicBezTo>
                    <a:pt x="3791" y="6181"/>
                    <a:pt x="8235" y="3695"/>
                    <a:pt x="9259" y="812"/>
                  </a:cubicBezTo>
                  <a:cubicBezTo>
                    <a:pt x="9467" y="226"/>
                    <a:pt x="9832" y="0"/>
                    <a:pt x="10290" y="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7" name="Freeform 8"/>
            <p:cNvSpPr>
              <a:spLocks/>
            </p:cNvSpPr>
            <p:nvPr/>
          </p:nvSpPr>
          <p:spPr bwMode="white">
            <a:xfrm>
              <a:off x="8229611" y="270719"/>
              <a:ext cx="351468" cy="168341"/>
            </a:xfrm>
            <a:custGeom>
              <a:avLst/>
              <a:gdLst>
                <a:gd name="T0" fmla="*/ 58 w 8157"/>
                <a:gd name="T1" fmla="*/ 3881 h 3911"/>
                <a:gd name="T2" fmla="*/ 42 w 8157"/>
                <a:gd name="T3" fmla="*/ 3757 h 3911"/>
                <a:gd name="T4" fmla="*/ 7928 w 8157"/>
                <a:gd name="T5" fmla="*/ 315 h 3911"/>
                <a:gd name="T6" fmla="*/ 8123 w 8157"/>
                <a:gd name="T7" fmla="*/ 374 h 3911"/>
                <a:gd name="T8" fmla="*/ 212 w 8157"/>
                <a:gd name="T9" fmla="*/ 3827 h 3911"/>
                <a:gd name="T10" fmla="*/ 58 w 8157"/>
                <a:gd name="T11" fmla="*/ 3881 h 39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57" h="3911">
                  <a:moveTo>
                    <a:pt x="58" y="3881"/>
                  </a:moveTo>
                  <a:cubicBezTo>
                    <a:pt x="25" y="3858"/>
                    <a:pt x="0" y="3858"/>
                    <a:pt x="42" y="3757"/>
                  </a:cubicBezTo>
                  <a:cubicBezTo>
                    <a:pt x="1218" y="860"/>
                    <a:pt x="6681" y="2044"/>
                    <a:pt x="7928" y="315"/>
                  </a:cubicBezTo>
                  <a:cubicBezTo>
                    <a:pt x="8157" y="0"/>
                    <a:pt x="8155" y="244"/>
                    <a:pt x="8123" y="374"/>
                  </a:cubicBezTo>
                  <a:cubicBezTo>
                    <a:pt x="7331" y="3484"/>
                    <a:pt x="2144" y="1519"/>
                    <a:pt x="212" y="3827"/>
                  </a:cubicBezTo>
                  <a:cubicBezTo>
                    <a:pt x="171" y="3875"/>
                    <a:pt x="99" y="3911"/>
                    <a:pt x="58" y="38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8" name="Freeform 9"/>
            <p:cNvSpPr>
              <a:spLocks/>
            </p:cNvSpPr>
            <p:nvPr/>
          </p:nvSpPr>
          <p:spPr bwMode="white">
            <a:xfrm>
              <a:off x="8237005" y="392425"/>
              <a:ext cx="157725" cy="368719"/>
            </a:xfrm>
            <a:custGeom>
              <a:avLst/>
              <a:gdLst>
                <a:gd name="T0" fmla="*/ 3645 w 3661"/>
                <a:gd name="T1" fmla="*/ 2724 h 8570"/>
                <a:gd name="T2" fmla="*/ 3288 w 3661"/>
                <a:gd name="T3" fmla="*/ 2624 h 8570"/>
                <a:gd name="T4" fmla="*/ 1665 w 3661"/>
                <a:gd name="T5" fmla="*/ 3390 h 8570"/>
                <a:gd name="T6" fmla="*/ 2367 w 3661"/>
                <a:gd name="T7" fmla="*/ 371 h 8570"/>
                <a:gd name="T8" fmla="*/ 809 w 3661"/>
                <a:gd name="T9" fmla="*/ 4293 h 8570"/>
                <a:gd name="T10" fmla="*/ 459 w 3661"/>
                <a:gd name="T11" fmla="*/ 8450 h 8570"/>
                <a:gd name="T12" fmla="*/ 1545 w 3661"/>
                <a:gd name="T13" fmla="*/ 4521 h 8570"/>
                <a:gd name="T14" fmla="*/ 3418 w 3661"/>
                <a:gd name="T15" fmla="*/ 3003 h 8570"/>
                <a:gd name="T16" fmla="*/ 3645 w 3661"/>
                <a:gd name="T17" fmla="*/ 2724 h 8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61" h="8570">
                  <a:moveTo>
                    <a:pt x="3645" y="2724"/>
                  </a:moveTo>
                  <a:cubicBezTo>
                    <a:pt x="3618" y="2614"/>
                    <a:pt x="3485" y="2592"/>
                    <a:pt x="3288" y="2624"/>
                  </a:cubicBezTo>
                  <a:cubicBezTo>
                    <a:pt x="3077" y="2657"/>
                    <a:pt x="2521" y="2753"/>
                    <a:pt x="1665" y="3390"/>
                  </a:cubicBezTo>
                  <a:cubicBezTo>
                    <a:pt x="1956" y="960"/>
                    <a:pt x="2385" y="513"/>
                    <a:pt x="2367" y="371"/>
                  </a:cubicBezTo>
                  <a:cubicBezTo>
                    <a:pt x="2325" y="33"/>
                    <a:pt x="1437" y="0"/>
                    <a:pt x="809" y="4293"/>
                  </a:cubicBezTo>
                  <a:cubicBezTo>
                    <a:pt x="163" y="5873"/>
                    <a:pt x="0" y="8356"/>
                    <a:pt x="459" y="8450"/>
                  </a:cubicBezTo>
                  <a:cubicBezTo>
                    <a:pt x="1053" y="8570"/>
                    <a:pt x="1323" y="6323"/>
                    <a:pt x="1545" y="4521"/>
                  </a:cubicBezTo>
                  <a:cubicBezTo>
                    <a:pt x="1994" y="3733"/>
                    <a:pt x="2950" y="3228"/>
                    <a:pt x="3418" y="3003"/>
                  </a:cubicBezTo>
                  <a:cubicBezTo>
                    <a:pt x="3629" y="2901"/>
                    <a:pt x="3661" y="2790"/>
                    <a:pt x="3645" y="27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9" name="Freeform 10"/>
            <p:cNvSpPr>
              <a:spLocks/>
            </p:cNvSpPr>
            <p:nvPr/>
          </p:nvSpPr>
          <p:spPr bwMode="white">
            <a:xfrm>
              <a:off x="8377858" y="385789"/>
              <a:ext cx="542179" cy="262179"/>
            </a:xfrm>
            <a:custGeom>
              <a:avLst/>
              <a:gdLst>
                <a:gd name="T0" fmla="*/ 9351 w 12588"/>
                <a:gd name="T1" fmla="*/ 848 h 6096"/>
                <a:gd name="T2" fmla="*/ 6832 w 12588"/>
                <a:gd name="T3" fmla="*/ 3597 h 6096"/>
                <a:gd name="T4" fmla="*/ 6312 w 12588"/>
                <a:gd name="T5" fmla="*/ 4119 h 6096"/>
                <a:gd name="T6" fmla="*/ 4932 w 12588"/>
                <a:gd name="T7" fmla="*/ 3977 h 6096"/>
                <a:gd name="T8" fmla="*/ 6629 w 12588"/>
                <a:gd name="T9" fmla="*/ 1522 h 6096"/>
                <a:gd name="T10" fmla="*/ 6177 w 12588"/>
                <a:gd name="T11" fmla="*/ 1412 h 6096"/>
                <a:gd name="T12" fmla="*/ 4067 w 12588"/>
                <a:gd name="T13" fmla="*/ 1880 h 6096"/>
                <a:gd name="T14" fmla="*/ 3698 w 12588"/>
                <a:gd name="T15" fmla="*/ 1683 h 6096"/>
                <a:gd name="T16" fmla="*/ 3750 w 12588"/>
                <a:gd name="T17" fmla="*/ 1975 h 6096"/>
                <a:gd name="T18" fmla="*/ 2721 w 12588"/>
                <a:gd name="T19" fmla="*/ 4588 h 6096"/>
                <a:gd name="T20" fmla="*/ 2637 w 12588"/>
                <a:gd name="T21" fmla="*/ 3938 h 6096"/>
                <a:gd name="T22" fmla="*/ 2789 w 12588"/>
                <a:gd name="T23" fmla="*/ 3312 h 6096"/>
                <a:gd name="T24" fmla="*/ 2344 w 12588"/>
                <a:gd name="T25" fmla="*/ 3180 h 6096"/>
                <a:gd name="T26" fmla="*/ 1897 w 12588"/>
                <a:gd name="T27" fmla="*/ 4130 h 6096"/>
                <a:gd name="T28" fmla="*/ 1117 w 12588"/>
                <a:gd name="T29" fmla="*/ 4803 h 6096"/>
                <a:gd name="T30" fmla="*/ 1390 w 12588"/>
                <a:gd name="T31" fmla="*/ 3389 h 6096"/>
                <a:gd name="T32" fmla="*/ 2263 w 12588"/>
                <a:gd name="T33" fmla="*/ 2652 h 6096"/>
                <a:gd name="T34" fmla="*/ 2701 w 12588"/>
                <a:gd name="T35" fmla="*/ 2779 h 6096"/>
                <a:gd name="T36" fmla="*/ 2504 w 12588"/>
                <a:gd name="T37" fmla="*/ 2281 h 6096"/>
                <a:gd name="T38" fmla="*/ 569 w 12588"/>
                <a:gd name="T39" fmla="*/ 3564 h 6096"/>
                <a:gd name="T40" fmla="*/ 546 w 12588"/>
                <a:gd name="T41" fmla="*/ 5934 h 6096"/>
                <a:gd name="T42" fmla="*/ 1841 w 12588"/>
                <a:gd name="T43" fmla="*/ 4848 h 6096"/>
                <a:gd name="T44" fmla="*/ 2281 w 12588"/>
                <a:gd name="T45" fmla="*/ 5566 h 6096"/>
                <a:gd name="T46" fmla="*/ 4028 w 12588"/>
                <a:gd name="T47" fmla="*/ 2206 h 6096"/>
                <a:gd name="T48" fmla="*/ 6038 w 12588"/>
                <a:gd name="T49" fmla="*/ 2093 h 6096"/>
                <a:gd name="T50" fmla="*/ 3818 w 12588"/>
                <a:gd name="T51" fmla="*/ 4451 h 6096"/>
                <a:gd name="T52" fmla="*/ 3662 w 12588"/>
                <a:gd name="T53" fmla="*/ 5160 h 6096"/>
                <a:gd name="T54" fmla="*/ 4046 w 12588"/>
                <a:gd name="T55" fmla="*/ 4979 h 6096"/>
                <a:gd name="T56" fmla="*/ 5541 w 12588"/>
                <a:gd name="T57" fmla="*/ 4709 h 6096"/>
                <a:gd name="T58" fmla="*/ 6943 w 12588"/>
                <a:gd name="T59" fmla="*/ 3936 h 6096"/>
                <a:gd name="T60" fmla="*/ 7813 w 12588"/>
                <a:gd name="T61" fmla="*/ 4314 h 6096"/>
                <a:gd name="T62" fmla="*/ 10525 w 12588"/>
                <a:gd name="T63" fmla="*/ 1055 h 6096"/>
                <a:gd name="T64" fmla="*/ 10657 w 12588"/>
                <a:gd name="T65" fmla="*/ 2235 h 6096"/>
                <a:gd name="T66" fmla="*/ 10909 w 12588"/>
                <a:gd name="T67" fmla="*/ 3539 h 6096"/>
                <a:gd name="T68" fmla="*/ 12581 w 12588"/>
                <a:gd name="T69" fmla="*/ 1902 h 6096"/>
                <a:gd name="T70" fmla="*/ 12517 w 12588"/>
                <a:gd name="T71" fmla="*/ 1701 h 6096"/>
                <a:gd name="T72" fmla="*/ 12386 w 12588"/>
                <a:gd name="T73" fmla="*/ 1812 h 6096"/>
                <a:gd name="T74" fmla="*/ 11500 w 12588"/>
                <a:gd name="T75" fmla="*/ 2750 h 6096"/>
                <a:gd name="T76" fmla="*/ 11387 w 12588"/>
                <a:gd name="T77" fmla="*/ 1219 h 6096"/>
                <a:gd name="T78" fmla="*/ 10665 w 12588"/>
                <a:gd name="T79" fmla="*/ 468 h 6096"/>
                <a:gd name="T80" fmla="*/ 10406 w 12588"/>
                <a:gd name="T81" fmla="*/ 227 h 6096"/>
                <a:gd name="T82" fmla="*/ 7936 w 12588"/>
                <a:gd name="T83" fmla="*/ 3603 h 6096"/>
                <a:gd name="T84" fmla="*/ 7761 w 12588"/>
                <a:gd name="T85" fmla="*/ 2121 h 6096"/>
                <a:gd name="T86" fmla="*/ 8696 w 12588"/>
                <a:gd name="T87" fmla="*/ 1332 h 6096"/>
                <a:gd name="T88" fmla="*/ 8034 w 12588"/>
                <a:gd name="T89" fmla="*/ 2470 h 6096"/>
                <a:gd name="T90" fmla="*/ 7904 w 12588"/>
                <a:gd name="T91" fmla="*/ 2625 h 6096"/>
                <a:gd name="T92" fmla="*/ 8147 w 12588"/>
                <a:gd name="T93" fmla="*/ 2701 h 6096"/>
                <a:gd name="T94" fmla="*/ 9351 w 12588"/>
                <a:gd name="T95" fmla="*/ 848 h 6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588" h="6096">
                  <a:moveTo>
                    <a:pt x="9351" y="848"/>
                  </a:moveTo>
                  <a:cubicBezTo>
                    <a:pt x="8431" y="28"/>
                    <a:pt x="6483" y="1805"/>
                    <a:pt x="6832" y="3597"/>
                  </a:cubicBezTo>
                  <a:cubicBezTo>
                    <a:pt x="6688" y="3993"/>
                    <a:pt x="6454" y="4101"/>
                    <a:pt x="6312" y="4119"/>
                  </a:cubicBezTo>
                  <a:cubicBezTo>
                    <a:pt x="5923" y="4168"/>
                    <a:pt x="5666" y="3742"/>
                    <a:pt x="4932" y="3977"/>
                  </a:cubicBezTo>
                  <a:cubicBezTo>
                    <a:pt x="5824" y="2907"/>
                    <a:pt x="6987" y="2091"/>
                    <a:pt x="6629" y="1522"/>
                  </a:cubicBezTo>
                  <a:cubicBezTo>
                    <a:pt x="6517" y="1344"/>
                    <a:pt x="6419" y="1292"/>
                    <a:pt x="6177" y="1412"/>
                  </a:cubicBezTo>
                  <a:cubicBezTo>
                    <a:pt x="5381" y="1804"/>
                    <a:pt x="4341" y="2073"/>
                    <a:pt x="4067" y="1880"/>
                  </a:cubicBezTo>
                  <a:cubicBezTo>
                    <a:pt x="4005" y="1625"/>
                    <a:pt x="3772" y="1584"/>
                    <a:pt x="3698" y="1683"/>
                  </a:cubicBezTo>
                  <a:cubicBezTo>
                    <a:pt x="3633" y="1768"/>
                    <a:pt x="3684" y="1882"/>
                    <a:pt x="3750" y="1975"/>
                  </a:cubicBezTo>
                  <a:cubicBezTo>
                    <a:pt x="3727" y="3144"/>
                    <a:pt x="3048" y="4671"/>
                    <a:pt x="2721" y="4588"/>
                  </a:cubicBezTo>
                  <a:cubicBezTo>
                    <a:pt x="2558" y="4545"/>
                    <a:pt x="2596" y="4242"/>
                    <a:pt x="2637" y="3938"/>
                  </a:cubicBezTo>
                  <a:cubicBezTo>
                    <a:pt x="2671" y="3682"/>
                    <a:pt x="2767" y="3400"/>
                    <a:pt x="2789" y="3312"/>
                  </a:cubicBezTo>
                  <a:cubicBezTo>
                    <a:pt x="2870" y="2989"/>
                    <a:pt x="2471" y="2934"/>
                    <a:pt x="2344" y="3180"/>
                  </a:cubicBezTo>
                  <a:cubicBezTo>
                    <a:pt x="2191" y="3477"/>
                    <a:pt x="2072" y="3844"/>
                    <a:pt x="1897" y="4130"/>
                  </a:cubicBezTo>
                  <a:cubicBezTo>
                    <a:pt x="1628" y="4577"/>
                    <a:pt x="1350" y="4905"/>
                    <a:pt x="1117" y="4803"/>
                  </a:cubicBezTo>
                  <a:cubicBezTo>
                    <a:pt x="846" y="4685"/>
                    <a:pt x="1007" y="4004"/>
                    <a:pt x="1390" y="3389"/>
                  </a:cubicBezTo>
                  <a:cubicBezTo>
                    <a:pt x="1743" y="2823"/>
                    <a:pt x="2071" y="2662"/>
                    <a:pt x="2263" y="2652"/>
                  </a:cubicBezTo>
                  <a:cubicBezTo>
                    <a:pt x="2518" y="2638"/>
                    <a:pt x="2582" y="2823"/>
                    <a:pt x="2701" y="2779"/>
                  </a:cubicBezTo>
                  <a:cubicBezTo>
                    <a:pt x="2839" y="2730"/>
                    <a:pt x="2823" y="2412"/>
                    <a:pt x="2504" y="2281"/>
                  </a:cubicBezTo>
                  <a:cubicBezTo>
                    <a:pt x="1917" y="2041"/>
                    <a:pt x="1009" y="2690"/>
                    <a:pt x="569" y="3564"/>
                  </a:cubicBezTo>
                  <a:cubicBezTo>
                    <a:pt x="92" y="4512"/>
                    <a:pt x="0" y="5743"/>
                    <a:pt x="546" y="5934"/>
                  </a:cubicBezTo>
                  <a:cubicBezTo>
                    <a:pt x="1003" y="6096"/>
                    <a:pt x="1605" y="5357"/>
                    <a:pt x="1841" y="4848"/>
                  </a:cubicBezTo>
                  <a:cubicBezTo>
                    <a:pt x="1854" y="5120"/>
                    <a:pt x="1924" y="5511"/>
                    <a:pt x="2281" y="5566"/>
                  </a:cubicBezTo>
                  <a:cubicBezTo>
                    <a:pt x="2940" y="5669"/>
                    <a:pt x="3948" y="3725"/>
                    <a:pt x="4028" y="2206"/>
                  </a:cubicBezTo>
                  <a:cubicBezTo>
                    <a:pt x="4324" y="2445"/>
                    <a:pt x="5357" y="2398"/>
                    <a:pt x="6038" y="2093"/>
                  </a:cubicBezTo>
                  <a:cubicBezTo>
                    <a:pt x="5460" y="2764"/>
                    <a:pt x="4062" y="4098"/>
                    <a:pt x="3818" y="4451"/>
                  </a:cubicBezTo>
                  <a:cubicBezTo>
                    <a:pt x="3574" y="4804"/>
                    <a:pt x="3476" y="5028"/>
                    <a:pt x="3662" y="5160"/>
                  </a:cubicBezTo>
                  <a:cubicBezTo>
                    <a:pt x="3803" y="5260"/>
                    <a:pt x="3897" y="5125"/>
                    <a:pt x="4046" y="4979"/>
                  </a:cubicBezTo>
                  <a:cubicBezTo>
                    <a:pt x="4730" y="4311"/>
                    <a:pt x="5043" y="4637"/>
                    <a:pt x="5541" y="4709"/>
                  </a:cubicBezTo>
                  <a:cubicBezTo>
                    <a:pt x="5936" y="4767"/>
                    <a:pt x="6607" y="4679"/>
                    <a:pt x="6943" y="3936"/>
                  </a:cubicBezTo>
                  <a:cubicBezTo>
                    <a:pt x="7154" y="4219"/>
                    <a:pt x="7519" y="4308"/>
                    <a:pt x="7813" y="4314"/>
                  </a:cubicBezTo>
                  <a:cubicBezTo>
                    <a:pt x="8924" y="4331"/>
                    <a:pt x="10162" y="2804"/>
                    <a:pt x="10525" y="1055"/>
                  </a:cubicBezTo>
                  <a:cubicBezTo>
                    <a:pt x="10945" y="1254"/>
                    <a:pt x="10774" y="1724"/>
                    <a:pt x="10657" y="2235"/>
                  </a:cubicBezTo>
                  <a:cubicBezTo>
                    <a:pt x="10525" y="2807"/>
                    <a:pt x="10550" y="3368"/>
                    <a:pt x="10909" y="3539"/>
                  </a:cubicBezTo>
                  <a:cubicBezTo>
                    <a:pt x="11724" y="3927"/>
                    <a:pt x="12533" y="2542"/>
                    <a:pt x="12581" y="1902"/>
                  </a:cubicBezTo>
                  <a:cubicBezTo>
                    <a:pt x="12588" y="1797"/>
                    <a:pt x="12564" y="1717"/>
                    <a:pt x="12517" y="1701"/>
                  </a:cubicBezTo>
                  <a:cubicBezTo>
                    <a:pt x="12463" y="1681"/>
                    <a:pt x="12414" y="1730"/>
                    <a:pt x="12386" y="1812"/>
                  </a:cubicBezTo>
                  <a:cubicBezTo>
                    <a:pt x="12244" y="2240"/>
                    <a:pt x="11822" y="2840"/>
                    <a:pt x="11500" y="2750"/>
                  </a:cubicBezTo>
                  <a:cubicBezTo>
                    <a:pt x="11097" y="2638"/>
                    <a:pt x="11484" y="1762"/>
                    <a:pt x="11387" y="1219"/>
                  </a:cubicBezTo>
                  <a:cubicBezTo>
                    <a:pt x="11311" y="800"/>
                    <a:pt x="10894" y="652"/>
                    <a:pt x="10665" y="468"/>
                  </a:cubicBezTo>
                  <a:cubicBezTo>
                    <a:pt x="10668" y="91"/>
                    <a:pt x="10444" y="0"/>
                    <a:pt x="10406" y="227"/>
                  </a:cubicBezTo>
                  <a:cubicBezTo>
                    <a:pt x="9991" y="2763"/>
                    <a:pt x="8674" y="3863"/>
                    <a:pt x="7936" y="3603"/>
                  </a:cubicBezTo>
                  <a:cubicBezTo>
                    <a:pt x="7441" y="3427"/>
                    <a:pt x="7550" y="2645"/>
                    <a:pt x="7761" y="2121"/>
                  </a:cubicBezTo>
                  <a:cubicBezTo>
                    <a:pt x="8003" y="1521"/>
                    <a:pt x="8495" y="1150"/>
                    <a:pt x="8696" y="1332"/>
                  </a:cubicBezTo>
                  <a:cubicBezTo>
                    <a:pt x="8910" y="1527"/>
                    <a:pt x="8567" y="2293"/>
                    <a:pt x="8034" y="2470"/>
                  </a:cubicBezTo>
                  <a:cubicBezTo>
                    <a:pt x="7904" y="2513"/>
                    <a:pt x="7890" y="2580"/>
                    <a:pt x="7904" y="2625"/>
                  </a:cubicBezTo>
                  <a:cubicBezTo>
                    <a:pt x="7924" y="2688"/>
                    <a:pt x="8020" y="2722"/>
                    <a:pt x="8147" y="2701"/>
                  </a:cubicBezTo>
                  <a:cubicBezTo>
                    <a:pt x="9272" y="2522"/>
                    <a:pt x="9854" y="1297"/>
                    <a:pt x="9351" y="8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Päivämäärän paikkamerkki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5.6.2024</a:t>
            </a:fld>
            <a:endParaRPr lang="fi-FI" dirty="0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 dirty="0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7B83FD07-DB7D-E148-AA87-E4E1850246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3998" cy="5143498"/>
          </a:xfrm>
          <a:prstGeom prst="rect">
            <a:avLst/>
          </a:prstGeom>
        </p:spPr>
      </p:pic>
      <p:grpSp>
        <p:nvGrpSpPr>
          <p:cNvPr id="20" name="Ryhmä 8">
            <a:extLst>
              <a:ext uri="{FF2B5EF4-FFF2-40B4-BE49-F238E27FC236}">
                <a16:creationId xmlns:a16="http://schemas.microsoft.com/office/drawing/2014/main" id="{701998B6-8501-174F-97E8-3DE7BF107DB1}"/>
              </a:ext>
            </a:extLst>
          </p:cNvPr>
          <p:cNvGrpSpPr/>
          <p:nvPr userDrawn="1"/>
        </p:nvGrpSpPr>
        <p:grpSpPr>
          <a:xfrm>
            <a:off x="8127242" y="116975"/>
            <a:ext cx="871657" cy="870519"/>
            <a:chOff x="8127242" y="116975"/>
            <a:chExt cx="871657" cy="870519"/>
          </a:xfrm>
        </p:grpSpPr>
        <p:sp>
          <p:nvSpPr>
            <p:cNvPr id="21" name="Freeform 5">
              <a:extLst>
                <a:ext uri="{FF2B5EF4-FFF2-40B4-BE49-F238E27FC236}">
                  <a16:creationId xmlns:a16="http://schemas.microsoft.com/office/drawing/2014/main" id="{E4C7965B-1C1C-8F4B-A806-C7AA5B4FF2B2}"/>
                </a:ext>
              </a:extLst>
            </p:cNvPr>
            <p:cNvSpPr>
              <a:spLocks/>
            </p:cNvSpPr>
            <p:nvPr/>
          </p:nvSpPr>
          <p:spPr bwMode="white">
            <a:xfrm>
              <a:off x="8128948" y="118681"/>
              <a:ext cx="868434" cy="867107"/>
            </a:xfrm>
            <a:custGeom>
              <a:avLst/>
              <a:gdLst>
                <a:gd name="T0" fmla="*/ 20157 w 20157"/>
                <a:gd name="T1" fmla="*/ 10078 h 20156"/>
                <a:gd name="T2" fmla="*/ 10079 w 20157"/>
                <a:gd name="T3" fmla="*/ 20156 h 20156"/>
                <a:gd name="T4" fmla="*/ 0 w 20157"/>
                <a:gd name="T5" fmla="*/ 10078 h 20156"/>
                <a:gd name="T6" fmla="*/ 10079 w 20157"/>
                <a:gd name="T7" fmla="*/ 0 h 20156"/>
                <a:gd name="T8" fmla="*/ 20157 w 20157"/>
                <a:gd name="T9" fmla="*/ 10078 h 20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157" h="20156">
                  <a:moveTo>
                    <a:pt x="20157" y="10078"/>
                  </a:moveTo>
                  <a:cubicBezTo>
                    <a:pt x="20157" y="15644"/>
                    <a:pt x="15644" y="20156"/>
                    <a:pt x="10079" y="20156"/>
                  </a:cubicBezTo>
                  <a:cubicBezTo>
                    <a:pt x="4512" y="20156"/>
                    <a:pt x="0" y="15644"/>
                    <a:pt x="0" y="10078"/>
                  </a:cubicBezTo>
                  <a:cubicBezTo>
                    <a:pt x="0" y="4512"/>
                    <a:pt x="4512" y="0"/>
                    <a:pt x="10079" y="0"/>
                  </a:cubicBezTo>
                  <a:cubicBezTo>
                    <a:pt x="15644" y="0"/>
                    <a:pt x="20157" y="4512"/>
                    <a:pt x="20157" y="100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66B1D947-6E27-0C42-96F2-99DF14C1549D}"/>
                </a:ext>
              </a:extLst>
            </p:cNvPr>
            <p:cNvSpPr>
              <a:spLocks/>
            </p:cNvSpPr>
            <p:nvPr/>
          </p:nvSpPr>
          <p:spPr bwMode="black">
            <a:xfrm>
              <a:off x="8141460" y="131003"/>
              <a:ext cx="843411" cy="842462"/>
            </a:xfrm>
            <a:custGeom>
              <a:avLst/>
              <a:gdLst>
                <a:gd name="T0" fmla="*/ 19577 w 19577"/>
                <a:gd name="T1" fmla="*/ 9788 h 19576"/>
                <a:gd name="T2" fmla="*/ 9789 w 19577"/>
                <a:gd name="T3" fmla="*/ 19576 h 19576"/>
                <a:gd name="T4" fmla="*/ 0 w 19577"/>
                <a:gd name="T5" fmla="*/ 9788 h 19576"/>
                <a:gd name="T6" fmla="*/ 9789 w 19577"/>
                <a:gd name="T7" fmla="*/ 0 h 19576"/>
                <a:gd name="T8" fmla="*/ 19577 w 19577"/>
                <a:gd name="T9" fmla="*/ 9788 h 19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77" h="19576">
                  <a:moveTo>
                    <a:pt x="19577" y="9788"/>
                  </a:moveTo>
                  <a:cubicBezTo>
                    <a:pt x="19577" y="15194"/>
                    <a:pt x="15194" y="19576"/>
                    <a:pt x="9789" y="19576"/>
                  </a:cubicBezTo>
                  <a:cubicBezTo>
                    <a:pt x="4382" y="19576"/>
                    <a:pt x="0" y="15194"/>
                    <a:pt x="0" y="9788"/>
                  </a:cubicBezTo>
                  <a:cubicBezTo>
                    <a:pt x="0" y="4382"/>
                    <a:pt x="4382" y="0"/>
                    <a:pt x="9789" y="0"/>
                  </a:cubicBezTo>
                  <a:cubicBezTo>
                    <a:pt x="15194" y="0"/>
                    <a:pt x="19577" y="4382"/>
                    <a:pt x="19577" y="9788"/>
                  </a:cubicBezTo>
                  <a:close/>
                </a:path>
              </a:pathLst>
            </a:custGeom>
            <a:solidFill>
              <a:srgbClr val="1525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3" name="AutoShape 3">
              <a:extLst>
                <a:ext uri="{FF2B5EF4-FFF2-40B4-BE49-F238E27FC236}">
                  <a16:creationId xmlns:a16="http://schemas.microsoft.com/office/drawing/2014/main" id="{029723DF-3865-2F41-BE99-4A3079B0740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hidden">
            <a:xfrm>
              <a:off x="8127242" y="116975"/>
              <a:ext cx="871657" cy="8705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4" name="Freeform 7">
              <a:extLst>
                <a:ext uri="{FF2B5EF4-FFF2-40B4-BE49-F238E27FC236}">
                  <a16:creationId xmlns:a16="http://schemas.microsoft.com/office/drawing/2014/main" id="{46CED702-5633-8240-9594-E93F68EF3D2C}"/>
                </a:ext>
              </a:extLst>
            </p:cNvPr>
            <p:cNvSpPr>
              <a:spLocks/>
            </p:cNvSpPr>
            <p:nvPr/>
          </p:nvSpPr>
          <p:spPr bwMode="white">
            <a:xfrm>
              <a:off x="8363260" y="591666"/>
              <a:ext cx="475260" cy="293080"/>
            </a:xfrm>
            <a:custGeom>
              <a:avLst/>
              <a:gdLst>
                <a:gd name="T0" fmla="*/ 10290 w 11030"/>
                <a:gd name="T1" fmla="*/ 76 h 6809"/>
                <a:gd name="T2" fmla="*/ 10869 w 11030"/>
                <a:gd name="T3" fmla="*/ 1274 h 6809"/>
                <a:gd name="T4" fmla="*/ 149 w 11030"/>
                <a:gd name="T5" fmla="*/ 3905 h 6809"/>
                <a:gd name="T6" fmla="*/ 23 w 11030"/>
                <a:gd name="T7" fmla="*/ 3696 h 6809"/>
                <a:gd name="T8" fmla="*/ 201 w 11030"/>
                <a:gd name="T9" fmla="*/ 3719 h 6809"/>
                <a:gd name="T10" fmla="*/ 9259 w 11030"/>
                <a:gd name="T11" fmla="*/ 812 h 6809"/>
                <a:gd name="T12" fmla="*/ 10290 w 11030"/>
                <a:gd name="T13" fmla="*/ 76 h 6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030" h="6809">
                  <a:moveTo>
                    <a:pt x="10290" y="76"/>
                  </a:moveTo>
                  <a:cubicBezTo>
                    <a:pt x="10826" y="166"/>
                    <a:pt x="11030" y="749"/>
                    <a:pt x="10869" y="1274"/>
                  </a:cubicBezTo>
                  <a:cubicBezTo>
                    <a:pt x="9736" y="4966"/>
                    <a:pt x="3442" y="6809"/>
                    <a:pt x="149" y="3905"/>
                  </a:cubicBezTo>
                  <a:cubicBezTo>
                    <a:pt x="27" y="3798"/>
                    <a:pt x="0" y="3735"/>
                    <a:pt x="23" y="3696"/>
                  </a:cubicBezTo>
                  <a:cubicBezTo>
                    <a:pt x="37" y="3671"/>
                    <a:pt x="85" y="3640"/>
                    <a:pt x="201" y="3719"/>
                  </a:cubicBezTo>
                  <a:cubicBezTo>
                    <a:pt x="3791" y="6181"/>
                    <a:pt x="8235" y="3695"/>
                    <a:pt x="9259" y="812"/>
                  </a:cubicBezTo>
                  <a:cubicBezTo>
                    <a:pt x="9467" y="226"/>
                    <a:pt x="9832" y="0"/>
                    <a:pt x="10290" y="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5" name="Freeform 8">
              <a:extLst>
                <a:ext uri="{FF2B5EF4-FFF2-40B4-BE49-F238E27FC236}">
                  <a16:creationId xmlns:a16="http://schemas.microsoft.com/office/drawing/2014/main" id="{37D4E51C-9F0F-F949-875F-FEE689F8E8C4}"/>
                </a:ext>
              </a:extLst>
            </p:cNvPr>
            <p:cNvSpPr>
              <a:spLocks/>
            </p:cNvSpPr>
            <p:nvPr/>
          </p:nvSpPr>
          <p:spPr bwMode="white">
            <a:xfrm>
              <a:off x="8229611" y="270719"/>
              <a:ext cx="351468" cy="168341"/>
            </a:xfrm>
            <a:custGeom>
              <a:avLst/>
              <a:gdLst>
                <a:gd name="T0" fmla="*/ 58 w 8157"/>
                <a:gd name="T1" fmla="*/ 3881 h 3911"/>
                <a:gd name="T2" fmla="*/ 42 w 8157"/>
                <a:gd name="T3" fmla="*/ 3757 h 3911"/>
                <a:gd name="T4" fmla="*/ 7928 w 8157"/>
                <a:gd name="T5" fmla="*/ 315 h 3911"/>
                <a:gd name="T6" fmla="*/ 8123 w 8157"/>
                <a:gd name="T7" fmla="*/ 374 h 3911"/>
                <a:gd name="T8" fmla="*/ 212 w 8157"/>
                <a:gd name="T9" fmla="*/ 3827 h 3911"/>
                <a:gd name="T10" fmla="*/ 58 w 8157"/>
                <a:gd name="T11" fmla="*/ 3881 h 39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57" h="3911">
                  <a:moveTo>
                    <a:pt x="58" y="3881"/>
                  </a:moveTo>
                  <a:cubicBezTo>
                    <a:pt x="25" y="3858"/>
                    <a:pt x="0" y="3858"/>
                    <a:pt x="42" y="3757"/>
                  </a:cubicBezTo>
                  <a:cubicBezTo>
                    <a:pt x="1218" y="860"/>
                    <a:pt x="6681" y="2044"/>
                    <a:pt x="7928" y="315"/>
                  </a:cubicBezTo>
                  <a:cubicBezTo>
                    <a:pt x="8157" y="0"/>
                    <a:pt x="8155" y="244"/>
                    <a:pt x="8123" y="374"/>
                  </a:cubicBezTo>
                  <a:cubicBezTo>
                    <a:pt x="7331" y="3484"/>
                    <a:pt x="2144" y="1519"/>
                    <a:pt x="212" y="3827"/>
                  </a:cubicBezTo>
                  <a:cubicBezTo>
                    <a:pt x="171" y="3875"/>
                    <a:pt x="99" y="3911"/>
                    <a:pt x="58" y="38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6" name="Freeform 9">
              <a:extLst>
                <a:ext uri="{FF2B5EF4-FFF2-40B4-BE49-F238E27FC236}">
                  <a16:creationId xmlns:a16="http://schemas.microsoft.com/office/drawing/2014/main" id="{D444AE7C-9EDA-984C-B603-10866673A7B5}"/>
                </a:ext>
              </a:extLst>
            </p:cNvPr>
            <p:cNvSpPr>
              <a:spLocks/>
            </p:cNvSpPr>
            <p:nvPr/>
          </p:nvSpPr>
          <p:spPr bwMode="white">
            <a:xfrm>
              <a:off x="8237005" y="392425"/>
              <a:ext cx="157725" cy="368719"/>
            </a:xfrm>
            <a:custGeom>
              <a:avLst/>
              <a:gdLst>
                <a:gd name="T0" fmla="*/ 3645 w 3661"/>
                <a:gd name="T1" fmla="*/ 2724 h 8570"/>
                <a:gd name="T2" fmla="*/ 3288 w 3661"/>
                <a:gd name="T3" fmla="*/ 2624 h 8570"/>
                <a:gd name="T4" fmla="*/ 1665 w 3661"/>
                <a:gd name="T5" fmla="*/ 3390 h 8570"/>
                <a:gd name="T6" fmla="*/ 2367 w 3661"/>
                <a:gd name="T7" fmla="*/ 371 h 8570"/>
                <a:gd name="T8" fmla="*/ 809 w 3661"/>
                <a:gd name="T9" fmla="*/ 4293 h 8570"/>
                <a:gd name="T10" fmla="*/ 459 w 3661"/>
                <a:gd name="T11" fmla="*/ 8450 h 8570"/>
                <a:gd name="T12" fmla="*/ 1545 w 3661"/>
                <a:gd name="T13" fmla="*/ 4521 h 8570"/>
                <a:gd name="T14" fmla="*/ 3418 w 3661"/>
                <a:gd name="T15" fmla="*/ 3003 h 8570"/>
                <a:gd name="T16" fmla="*/ 3645 w 3661"/>
                <a:gd name="T17" fmla="*/ 2724 h 8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61" h="8570">
                  <a:moveTo>
                    <a:pt x="3645" y="2724"/>
                  </a:moveTo>
                  <a:cubicBezTo>
                    <a:pt x="3618" y="2614"/>
                    <a:pt x="3485" y="2592"/>
                    <a:pt x="3288" y="2624"/>
                  </a:cubicBezTo>
                  <a:cubicBezTo>
                    <a:pt x="3077" y="2657"/>
                    <a:pt x="2521" y="2753"/>
                    <a:pt x="1665" y="3390"/>
                  </a:cubicBezTo>
                  <a:cubicBezTo>
                    <a:pt x="1956" y="960"/>
                    <a:pt x="2385" y="513"/>
                    <a:pt x="2367" y="371"/>
                  </a:cubicBezTo>
                  <a:cubicBezTo>
                    <a:pt x="2325" y="33"/>
                    <a:pt x="1437" y="0"/>
                    <a:pt x="809" y="4293"/>
                  </a:cubicBezTo>
                  <a:cubicBezTo>
                    <a:pt x="163" y="5873"/>
                    <a:pt x="0" y="8356"/>
                    <a:pt x="459" y="8450"/>
                  </a:cubicBezTo>
                  <a:cubicBezTo>
                    <a:pt x="1053" y="8570"/>
                    <a:pt x="1323" y="6323"/>
                    <a:pt x="1545" y="4521"/>
                  </a:cubicBezTo>
                  <a:cubicBezTo>
                    <a:pt x="1994" y="3733"/>
                    <a:pt x="2950" y="3228"/>
                    <a:pt x="3418" y="3003"/>
                  </a:cubicBezTo>
                  <a:cubicBezTo>
                    <a:pt x="3629" y="2901"/>
                    <a:pt x="3661" y="2790"/>
                    <a:pt x="3645" y="27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7" name="Freeform 10">
              <a:extLst>
                <a:ext uri="{FF2B5EF4-FFF2-40B4-BE49-F238E27FC236}">
                  <a16:creationId xmlns:a16="http://schemas.microsoft.com/office/drawing/2014/main" id="{45AE8DC4-A9E6-6342-8773-DF2B0E19661F}"/>
                </a:ext>
              </a:extLst>
            </p:cNvPr>
            <p:cNvSpPr>
              <a:spLocks/>
            </p:cNvSpPr>
            <p:nvPr/>
          </p:nvSpPr>
          <p:spPr bwMode="white">
            <a:xfrm>
              <a:off x="8377858" y="385789"/>
              <a:ext cx="542179" cy="262179"/>
            </a:xfrm>
            <a:custGeom>
              <a:avLst/>
              <a:gdLst>
                <a:gd name="T0" fmla="*/ 9351 w 12588"/>
                <a:gd name="T1" fmla="*/ 848 h 6096"/>
                <a:gd name="T2" fmla="*/ 6832 w 12588"/>
                <a:gd name="T3" fmla="*/ 3597 h 6096"/>
                <a:gd name="T4" fmla="*/ 6312 w 12588"/>
                <a:gd name="T5" fmla="*/ 4119 h 6096"/>
                <a:gd name="T6" fmla="*/ 4932 w 12588"/>
                <a:gd name="T7" fmla="*/ 3977 h 6096"/>
                <a:gd name="T8" fmla="*/ 6629 w 12588"/>
                <a:gd name="T9" fmla="*/ 1522 h 6096"/>
                <a:gd name="T10" fmla="*/ 6177 w 12588"/>
                <a:gd name="T11" fmla="*/ 1412 h 6096"/>
                <a:gd name="T12" fmla="*/ 4067 w 12588"/>
                <a:gd name="T13" fmla="*/ 1880 h 6096"/>
                <a:gd name="T14" fmla="*/ 3698 w 12588"/>
                <a:gd name="T15" fmla="*/ 1683 h 6096"/>
                <a:gd name="T16" fmla="*/ 3750 w 12588"/>
                <a:gd name="T17" fmla="*/ 1975 h 6096"/>
                <a:gd name="T18" fmla="*/ 2721 w 12588"/>
                <a:gd name="T19" fmla="*/ 4588 h 6096"/>
                <a:gd name="T20" fmla="*/ 2637 w 12588"/>
                <a:gd name="T21" fmla="*/ 3938 h 6096"/>
                <a:gd name="T22" fmla="*/ 2789 w 12588"/>
                <a:gd name="T23" fmla="*/ 3312 h 6096"/>
                <a:gd name="T24" fmla="*/ 2344 w 12588"/>
                <a:gd name="T25" fmla="*/ 3180 h 6096"/>
                <a:gd name="T26" fmla="*/ 1897 w 12588"/>
                <a:gd name="T27" fmla="*/ 4130 h 6096"/>
                <a:gd name="T28" fmla="*/ 1117 w 12588"/>
                <a:gd name="T29" fmla="*/ 4803 h 6096"/>
                <a:gd name="T30" fmla="*/ 1390 w 12588"/>
                <a:gd name="T31" fmla="*/ 3389 h 6096"/>
                <a:gd name="T32" fmla="*/ 2263 w 12588"/>
                <a:gd name="T33" fmla="*/ 2652 h 6096"/>
                <a:gd name="T34" fmla="*/ 2701 w 12588"/>
                <a:gd name="T35" fmla="*/ 2779 h 6096"/>
                <a:gd name="T36" fmla="*/ 2504 w 12588"/>
                <a:gd name="T37" fmla="*/ 2281 h 6096"/>
                <a:gd name="T38" fmla="*/ 569 w 12588"/>
                <a:gd name="T39" fmla="*/ 3564 h 6096"/>
                <a:gd name="T40" fmla="*/ 546 w 12588"/>
                <a:gd name="T41" fmla="*/ 5934 h 6096"/>
                <a:gd name="T42" fmla="*/ 1841 w 12588"/>
                <a:gd name="T43" fmla="*/ 4848 h 6096"/>
                <a:gd name="T44" fmla="*/ 2281 w 12588"/>
                <a:gd name="T45" fmla="*/ 5566 h 6096"/>
                <a:gd name="T46" fmla="*/ 4028 w 12588"/>
                <a:gd name="T47" fmla="*/ 2206 h 6096"/>
                <a:gd name="T48" fmla="*/ 6038 w 12588"/>
                <a:gd name="T49" fmla="*/ 2093 h 6096"/>
                <a:gd name="T50" fmla="*/ 3818 w 12588"/>
                <a:gd name="T51" fmla="*/ 4451 h 6096"/>
                <a:gd name="T52" fmla="*/ 3662 w 12588"/>
                <a:gd name="T53" fmla="*/ 5160 h 6096"/>
                <a:gd name="T54" fmla="*/ 4046 w 12588"/>
                <a:gd name="T55" fmla="*/ 4979 h 6096"/>
                <a:gd name="T56" fmla="*/ 5541 w 12588"/>
                <a:gd name="T57" fmla="*/ 4709 h 6096"/>
                <a:gd name="T58" fmla="*/ 6943 w 12588"/>
                <a:gd name="T59" fmla="*/ 3936 h 6096"/>
                <a:gd name="T60" fmla="*/ 7813 w 12588"/>
                <a:gd name="T61" fmla="*/ 4314 h 6096"/>
                <a:gd name="T62" fmla="*/ 10525 w 12588"/>
                <a:gd name="T63" fmla="*/ 1055 h 6096"/>
                <a:gd name="T64" fmla="*/ 10657 w 12588"/>
                <a:gd name="T65" fmla="*/ 2235 h 6096"/>
                <a:gd name="T66" fmla="*/ 10909 w 12588"/>
                <a:gd name="T67" fmla="*/ 3539 h 6096"/>
                <a:gd name="T68" fmla="*/ 12581 w 12588"/>
                <a:gd name="T69" fmla="*/ 1902 h 6096"/>
                <a:gd name="T70" fmla="*/ 12517 w 12588"/>
                <a:gd name="T71" fmla="*/ 1701 h 6096"/>
                <a:gd name="T72" fmla="*/ 12386 w 12588"/>
                <a:gd name="T73" fmla="*/ 1812 h 6096"/>
                <a:gd name="T74" fmla="*/ 11500 w 12588"/>
                <a:gd name="T75" fmla="*/ 2750 h 6096"/>
                <a:gd name="T76" fmla="*/ 11387 w 12588"/>
                <a:gd name="T77" fmla="*/ 1219 h 6096"/>
                <a:gd name="T78" fmla="*/ 10665 w 12588"/>
                <a:gd name="T79" fmla="*/ 468 h 6096"/>
                <a:gd name="T80" fmla="*/ 10406 w 12588"/>
                <a:gd name="T81" fmla="*/ 227 h 6096"/>
                <a:gd name="T82" fmla="*/ 7936 w 12588"/>
                <a:gd name="T83" fmla="*/ 3603 h 6096"/>
                <a:gd name="T84" fmla="*/ 7761 w 12588"/>
                <a:gd name="T85" fmla="*/ 2121 h 6096"/>
                <a:gd name="T86" fmla="*/ 8696 w 12588"/>
                <a:gd name="T87" fmla="*/ 1332 h 6096"/>
                <a:gd name="T88" fmla="*/ 8034 w 12588"/>
                <a:gd name="T89" fmla="*/ 2470 h 6096"/>
                <a:gd name="T90" fmla="*/ 7904 w 12588"/>
                <a:gd name="T91" fmla="*/ 2625 h 6096"/>
                <a:gd name="T92" fmla="*/ 8147 w 12588"/>
                <a:gd name="T93" fmla="*/ 2701 h 6096"/>
                <a:gd name="T94" fmla="*/ 9351 w 12588"/>
                <a:gd name="T95" fmla="*/ 848 h 6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588" h="6096">
                  <a:moveTo>
                    <a:pt x="9351" y="848"/>
                  </a:moveTo>
                  <a:cubicBezTo>
                    <a:pt x="8431" y="28"/>
                    <a:pt x="6483" y="1805"/>
                    <a:pt x="6832" y="3597"/>
                  </a:cubicBezTo>
                  <a:cubicBezTo>
                    <a:pt x="6688" y="3993"/>
                    <a:pt x="6454" y="4101"/>
                    <a:pt x="6312" y="4119"/>
                  </a:cubicBezTo>
                  <a:cubicBezTo>
                    <a:pt x="5923" y="4168"/>
                    <a:pt x="5666" y="3742"/>
                    <a:pt x="4932" y="3977"/>
                  </a:cubicBezTo>
                  <a:cubicBezTo>
                    <a:pt x="5824" y="2907"/>
                    <a:pt x="6987" y="2091"/>
                    <a:pt x="6629" y="1522"/>
                  </a:cubicBezTo>
                  <a:cubicBezTo>
                    <a:pt x="6517" y="1344"/>
                    <a:pt x="6419" y="1292"/>
                    <a:pt x="6177" y="1412"/>
                  </a:cubicBezTo>
                  <a:cubicBezTo>
                    <a:pt x="5381" y="1804"/>
                    <a:pt x="4341" y="2073"/>
                    <a:pt x="4067" y="1880"/>
                  </a:cubicBezTo>
                  <a:cubicBezTo>
                    <a:pt x="4005" y="1625"/>
                    <a:pt x="3772" y="1584"/>
                    <a:pt x="3698" y="1683"/>
                  </a:cubicBezTo>
                  <a:cubicBezTo>
                    <a:pt x="3633" y="1768"/>
                    <a:pt x="3684" y="1882"/>
                    <a:pt x="3750" y="1975"/>
                  </a:cubicBezTo>
                  <a:cubicBezTo>
                    <a:pt x="3727" y="3144"/>
                    <a:pt x="3048" y="4671"/>
                    <a:pt x="2721" y="4588"/>
                  </a:cubicBezTo>
                  <a:cubicBezTo>
                    <a:pt x="2558" y="4545"/>
                    <a:pt x="2596" y="4242"/>
                    <a:pt x="2637" y="3938"/>
                  </a:cubicBezTo>
                  <a:cubicBezTo>
                    <a:pt x="2671" y="3682"/>
                    <a:pt x="2767" y="3400"/>
                    <a:pt x="2789" y="3312"/>
                  </a:cubicBezTo>
                  <a:cubicBezTo>
                    <a:pt x="2870" y="2989"/>
                    <a:pt x="2471" y="2934"/>
                    <a:pt x="2344" y="3180"/>
                  </a:cubicBezTo>
                  <a:cubicBezTo>
                    <a:pt x="2191" y="3477"/>
                    <a:pt x="2072" y="3844"/>
                    <a:pt x="1897" y="4130"/>
                  </a:cubicBezTo>
                  <a:cubicBezTo>
                    <a:pt x="1628" y="4577"/>
                    <a:pt x="1350" y="4905"/>
                    <a:pt x="1117" y="4803"/>
                  </a:cubicBezTo>
                  <a:cubicBezTo>
                    <a:pt x="846" y="4685"/>
                    <a:pt x="1007" y="4004"/>
                    <a:pt x="1390" y="3389"/>
                  </a:cubicBezTo>
                  <a:cubicBezTo>
                    <a:pt x="1743" y="2823"/>
                    <a:pt x="2071" y="2662"/>
                    <a:pt x="2263" y="2652"/>
                  </a:cubicBezTo>
                  <a:cubicBezTo>
                    <a:pt x="2518" y="2638"/>
                    <a:pt x="2582" y="2823"/>
                    <a:pt x="2701" y="2779"/>
                  </a:cubicBezTo>
                  <a:cubicBezTo>
                    <a:pt x="2839" y="2730"/>
                    <a:pt x="2823" y="2412"/>
                    <a:pt x="2504" y="2281"/>
                  </a:cubicBezTo>
                  <a:cubicBezTo>
                    <a:pt x="1917" y="2041"/>
                    <a:pt x="1009" y="2690"/>
                    <a:pt x="569" y="3564"/>
                  </a:cubicBezTo>
                  <a:cubicBezTo>
                    <a:pt x="92" y="4512"/>
                    <a:pt x="0" y="5743"/>
                    <a:pt x="546" y="5934"/>
                  </a:cubicBezTo>
                  <a:cubicBezTo>
                    <a:pt x="1003" y="6096"/>
                    <a:pt x="1605" y="5357"/>
                    <a:pt x="1841" y="4848"/>
                  </a:cubicBezTo>
                  <a:cubicBezTo>
                    <a:pt x="1854" y="5120"/>
                    <a:pt x="1924" y="5511"/>
                    <a:pt x="2281" y="5566"/>
                  </a:cubicBezTo>
                  <a:cubicBezTo>
                    <a:pt x="2940" y="5669"/>
                    <a:pt x="3948" y="3725"/>
                    <a:pt x="4028" y="2206"/>
                  </a:cubicBezTo>
                  <a:cubicBezTo>
                    <a:pt x="4324" y="2445"/>
                    <a:pt x="5357" y="2398"/>
                    <a:pt x="6038" y="2093"/>
                  </a:cubicBezTo>
                  <a:cubicBezTo>
                    <a:pt x="5460" y="2764"/>
                    <a:pt x="4062" y="4098"/>
                    <a:pt x="3818" y="4451"/>
                  </a:cubicBezTo>
                  <a:cubicBezTo>
                    <a:pt x="3574" y="4804"/>
                    <a:pt x="3476" y="5028"/>
                    <a:pt x="3662" y="5160"/>
                  </a:cubicBezTo>
                  <a:cubicBezTo>
                    <a:pt x="3803" y="5260"/>
                    <a:pt x="3897" y="5125"/>
                    <a:pt x="4046" y="4979"/>
                  </a:cubicBezTo>
                  <a:cubicBezTo>
                    <a:pt x="4730" y="4311"/>
                    <a:pt x="5043" y="4637"/>
                    <a:pt x="5541" y="4709"/>
                  </a:cubicBezTo>
                  <a:cubicBezTo>
                    <a:pt x="5936" y="4767"/>
                    <a:pt x="6607" y="4679"/>
                    <a:pt x="6943" y="3936"/>
                  </a:cubicBezTo>
                  <a:cubicBezTo>
                    <a:pt x="7154" y="4219"/>
                    <a:pt x="7519" y="4308"/>
                    <a:pt x="7813" y="4314"/>
                  </a:cubicBezTo>
                  <a:cubicBezTo>
                    <a:pt x="8924" y="4331"/>
                    <a:pt x="10162" y="2804"/>
                    <a:pt x="10525" y="1055"/>
                  </a:cubicBezTo>
                  <a:cubicBezTo>
                    <a:pt x="10945" y="1254"/>
                    <a:pt x="10774" y="1724"/>
                    <a:pt x="10657" y="2235"/>
                  </a:cubicBezTo>
                  <a:cubicBezTo>
                    <a:pt x="10525" y="2807"/>
                    <a:pt x="10550" y="3368"/>
                    <a:pt x="10909" y="3539"/>
                  </a:cubicBezTo>
                  <a:cubicBezTo>
                    <a:pt x="11724" y="3927"/>
                    <a:pt x="12533" y="2542"/>
                    <a:pt x="12581" y="1902"/>
                  </a:cubicBezTo>
                  <a:cubicBezTo>
                    <a:pt x="12588" y="1797"/>
                    <a:pt x="12564" y="1717"/>
                    <a:pt x="12517" y="1701"/>
                  </a:cubicBezTo>
                  <a:cubicBezTo>
                    <a:pt x="12463" y="1681"/>
                    <a:pt x="12414" y="1730"/>
                    <a:pt x="12386" y="1812"/>
                  </a:cubicBezTo>
                  <a:cubicBezTo>
                    <a:pt x="12244" y="2240"/>
                    <a:pt x="11822" y="2840"/>
                    <a:pt x="11500" y="2750"/>
                  </a:cubicBezTo>
                  <a:cubicBezTo>
                    <a:pt x="11097" y="2638"/>
                    <a:pt x="11484" y="1762"/>
                    <a:pt x="11387" y="1219"/>
                  </a:cubicBezTo>
                  <a:cubicBezTo>
                    <a:pt x="11311" y="800"/>
                    <a:pt x="10894" y="652"/>
                    <a:pt x="10665" y="468"/>
                  </a:cubicBezTo>
                  <a:cubicBezTo>
                    <a:pt x="10668" y="91"/>
                    <a:pt x="10444" y="0"/>
                    <a:pt x="10406" y="227"/>
                  </a:cubicBezTo>
                  <a:cubicBezTo>
                    <a:pt x="9991" y="2763"/>
                    <a:pt x="8674" y="3863"/>
                    <a:pt x="7936" y="3603"/>
                  </a:cubicBezTo>
                  <a:cubicBezTo>
                    <a:pt x="7441" y="3427"/>
                    <a:pt x="7550" y="2645"/>
                    <a:pt x="7761" y="2121"/>
                  </a:cubicBezTo>
                  <a:cubicBezTo>
                    <a:pt x="8003" y="1521"/>
                    <a:pt x="8495" y="1150"/>
                    <a:pt x="8696" y="1332"/>
                  </a:cubicBezTo>
                  <a:cubicBezTo>
                    <a:pt x="8910" y="1527"/>
                    <a:pt x="8567" y="2293"/>
                    <a:pt x="8034" y="2470"/>
                  </a:cubicBezTo>
                  <a:cubicBezTo>
                    <a:pt x="7904" y="2513"/>
                    <a:pt x="7890" y="2580"/>
                    <a:pt x="7904" y="2625"/>
                  </a:cubicBezTo>
                  <a:cubicBezTo>
                    <a:pt x="7924" y="2688"/>
                    <a:pt x="8020" y="2722"/>
                    <a:pt x="8147" y="2701"/>
                  </a:cubicBezTo>
                  <a:cubicBezTo>
                    <a:pt x="9272" y="2522"/>
                    <a:pt x="9854" y="1297"/>
                    <a:pt x="9351" y="8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732205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wa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2046"/>
            <a:ext cx="9143998" cy="5143498"/>
          </a:xfrm>
          <a:prstGeom prst="rect">
            <a:avLst/>
          </a:prstGeom>
        </p:spPr>
      </p:pic>
      <p:sp>
        <p:nvSpPr>
          <p:cNvPr id="7" name="Rectangle 29"/>
          <p:cNvSpPr>
            <a:spLocks noGrp="1" noChangeArrowheads="1"/>
          </p:cNvSpPr>
          <p:nvPr>
            <p:ph type="title"/>
          </p:nvPr>
        </p:nvSpPr>
        <p:spPr bwMode="auto">
          <a:xfrm>
            <a:off x="432000" y="195486"/>
            <a:ext cx="7114442" cy="23762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altLang="zh-CN"/>
              <a:t>Click to edit Master title style</a:t>
            </a:r>
            <a:endParaRPr lang="en-US" altLang="zh-CN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432000" y="2679764"/>
            <a:ext cx="7107927" cy="205222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0" name="Ryhmä 9"/>
          <p:cNvGrpSpPr/>
          <p:nvPr/>
        </p:nvGrpSpPr>
        <p:grpSpPr>
          <a:xfrm>
            <a:off x="8127242" y="116975"/>
            <a:ext cx="871657" cy="870519"/>
            <a:chOff x="8127242" y="116975"/>
            <a:chExt cx="871657" cy="870519"/>
          </a:xfrm>
        </p:grpSpPr>
        <p:sp>
          <p:nvSpPr>
            <p:cNvPr id="11" name="Freeform 5"/>
            <p:cNvSpPr>
              <a:spLocks/>
            </p:cNvSpPr>
            <p:nvPr/>
          </p:nvSpPr>
          <p:spPr bwMode="white">
            <a:xfrm>
              <a:off x="8128948" y="118681"/>
              <a:ext cx="868434" cy="867107"/>
            </a:xfrm>
            <a:custGeom>
              <a:avLst/>
              <a:gdLst>
                <a:gd name="T0" fmla="*/ 20157 w 20157"/>
                <a:gd name="T1" fmla="*/ 10078 h 20156"/>
                <a:gd name="T2" fmla="*/ 10079 w 20157"/>
                <a:gd name="T3" fmla="*/ 20156 h 20156"/>
                <a:gd name="T4" fmla="*/ 0 w 20157"/>
                <a:gd name="T5" fmla="*/ 10078 h 20156"/>
                <a:gd name="T6" fmla="*/ 10079 w 20157"/>
                <a:gd name="T7" fmla="*/ 0 h 20156"/>
                <a:gd name="T8" fmla="*/ 20157 w 20157"/>
                <a:gd name="T9" fmla="*/ 10078 h 20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157" h="20156">
                  <a:moveTo>
                    <a:pt x="20157" y="10078"/>
                  </a:moveTo>
                  <a:cubicBezTo>
                    <a:pt x="20157" y="15644"/>
                    <a:pt x="15644" y="20156"/>
                    <a:pt x="10079" y="20156"/>
                  </a:cubicBezTo>
                  <a:cubicBezTo>
                    <a:pt x="4512" y="20156"/>
                    <a:pt x="0" y="15644"/>
                    <a:pt x="0" y="10078"/>
                  </a:cubicBezTo>
                  <a:cubicBezTo>
                    <a:pt x="0" y="4512"/>
                    <a:pt x="4512" y="0"/>
                    <a:pt x="10079" y="0"/>
                  </a:cubicBezTo>
                  <a:cubicBezTo>
                    <a:pt x="15644" y="0"/>
                    <a:pt x="20157" y="4512"/>
                    <a:pt x="20157" y="100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2" name="Freeform 6"/>
            <p:cNvSpPr>
              <a:spLocks/>
            </p:cNvSpPr>
            <p:nvPr/>
          </p:nvSpPr>
          <p:spPr bwMode="black">
            <a:xfrm>
              <a:off x="8141460" y="131003"/>
              <a:ext cx="843411" cy="842462"/>
            </a:xfrm>
            <a:custGeom>
              <a:avLst/>
              <a:gdLst>
                <a:gd name="T0" fmla="*/ 19577 w 19577"/>
                <a:gd name="T1" fmla="*/ 9788 h 19576"/>
                <a:gd name="T2" fmla="*/ 9789 w 19577"/>
                <a:gd name="T3" fmla="*/ 19576 h 19576"/>
                <a:gd name="T4" fmla="*/ 0 w 19577"/>
                <a:gd name="T5" fmla="*/ 9788 h 19576"/>
                <a:gd name="T6" fmla="*/ 9789 w 19577"/>
                <a:gd name="T7" fmla="*/ 0 h 19576"/>
                <a:gd name="T8" fmla="*/ 19577 w 19577"/>
                <a:gd name="T9" fmla="*/ 9788 h 19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77" h="19576">
                  <a:moveTo>
                    <a:pt x="19577" y="9788"/>
                  </a:moveTo>
                  <a:cubicBezTo>
                    <a:pt x="19577" y="15194"/>
                    <a:pt x="15194" y="19576"/>
                    <a:pt x="9789" y="19576"/>
                  </a:cubicBezTo>
                  <a:cubicBezTo>
                    <a:pt x="4382" y="19576"/>
                    <a:pt x="0" y="15194"/>
                    <a:pt x="0" y="9788"/>
                  </a:cubicBezTo>
                  <a:cubicBezTo>
                    <a:pt x="0" y="4382"/>
                    <a:pt x="4382" y="0"/>
                    <a:pt x="9789" y="0"/>
                  </a:cubicBezTo>
                  <a:cubicBezTo>
                    <a:pt x="15194" y="0"/>
                    <a:pt x="19577" y="4382"/>
                    <a:pt x="19577" y="9788"/>
                  </a:cubicBezTo>
                  <a:close/>
                </a:path>
              </a:pathLst>
            </a:custGeom>
            <a:solidFill>
              <a:srgbClr val="1525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6" name="AutoShape 3"/>
            <p:cNvSpPr>
              <a:spLocks noChangeAspect="1" noChangeArrowheads="1" noTextEdit="1"/>
            </p:cNvSpPr>
            <p:nvPr/>
          </p:nvSpPr>
          <p:spPr bwMode="hidden">
            <a:xfrm>
              <a:off x="8127242" y="116975"/>
              <a:ext cx="871657" cy="8705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7" name="Freeform 7"/>
            <p:cNvSpPr>
              <a:spLocks/>
            </p:cNvSpPr>
            <p:nvPr/>
          </p:nvSpPr>
          <p:spPr bwMode="white">
            <a:xfrm>
              <a:off x="8363260" y="591666"/>
              <a:ext cx="475260" cy="293080"/>
            </a:xfrm>
            <a:custGeom>
              <a:avLst/>
              <a:gdLst>
                <a:gd name="T0" fmla="*/ 10290 w 11030"/>
                <a:gd name="T1" fmla="*/ 76 h 6809"/>
                <a:gd name="T2" fmla="*/ 10869 w 11030"/>
                <a:gd name="T3" fmla="*/ 1274 h 6809"/>
                <a:gd name="T4" fmla="*/ 149 w 11030"/>
                <a:gd name="T5" fmla="*/ 3905 h 6809"/>
                <a:gd name="T6" fmla="*/ 23 w 11030"/>
                <a:gd name="T7" fmla="*/ 3696 h 6809"/>
                <a:gd name="T8" fmla="*/ 201 w 11030"/>
                <a:gd name="T9" fmla="*/ 3719 h 6809"/>
                <a:gd name="T10" fmla="*/ 9259 w 11030"/>
                <a:gd name="T11" fmla="*/ 812 h 6809"/>
                <a:gd name="T12" fmla="*/ 10290 w 11030"/>
                <a:gd name="T13" fmla="*/ 76 h 6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030" h="6809">
                  <a:moveTo>
                    <a:pt x="10290" y="76"/>
                  </a:moveTo>
                  <a:cubicBezTo>
                    <a:pt x="10826" y="166"/>
                    <a:pt x="11030" y="749"/>
                    <a:pt x="10869" y="1274"/>
                  </a:cubicBezTo>
                  <a:cubicBezTo>
                    <a:pt x="9736" y="4966"/>
                    <a:pt x="3442" y="6809"/>
                    <a:pt x="149" y="3905"/>
                  </a:cubicBezTo>
                  <a:cubicBezTo>
                    <a:pt x="27" y="3798"/>
                    <a:pt x="0" y="3735"/>
                    <a:pt x="23" y="3696"/>
                  </a:cubicBezTo>
                  <a:cubicBezTo>
                    <a:pt x="37" y="3671"/>
                    <a:pt x="85" y="3640"/>
                    <a:pt x="201" y="3719"/>
                  </a:cubicBezTo>
                  <a:cubicBezTo>
                    <a:pt x="3791" y="6181"/>
                    <a:pt x="8235" y="3695"/>
                    <a:pt x="9259" y="812"/>
                  </a:cubicBezTo>
                  <a:cubicBezTo>
                    <a:pt x="9467" y="226"/>
                    <a:pt x="9832" y="0"/>
                    <a:pt x="10290" y="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8" name="Freeform 8"/>
            <p:cNvSpPr>
              <a:spLocks/>
            </p:cNvSpPr>
            <p:nvPr/>
          </p:nvSpPr>
          <p:spPr bwMode="white">
            <a:xfrm>
              <a:off x="8229611" y="270719"/>
              <a:ext cx="351468" cy="168341"/>
            </a:xfrm>
            <a:custGeom>
              <a:avLst/>
              <a:gdLst>
                <a:gd name="T0" fmla="*/ 58 w 8157"/>
                <a:gd name="T1" fmla="*/ 3881 h 3911"/>
                <a:gd name="T2" fmla="*/ 42 w 8157"/>
                <a:gd name="T3" fmla="*/ 3757 h 3911"/>
                <a:gd name="T4" fmla="*/ 7928 w 8157"/>
                <a:gd name="T5" fmla="*/ 315 h 3911"/>
                <a:gd name="T6" fmla="*/ 8123 w 8157"/>
                <a:gd name="T7" fmla="*/ 374 h 3911"/>
                <a:gd name="T8" fmla="*/ 212 w 8157"/>
                <a:gd name="T9" fmla="*/ 3827 h 3911"/>
                <a:gd name="T10" fmla="*/ 58 w 8157"/>
                <a:gd name="T11" fmla="*/ 3881 h 39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57" h="3911">
                  <a:moveTo>
                    <a:pt x="58" y="3881"/>
                  </a:moveTo>
                  <a:cubicBezTo>
                    <a:pt x="25" y="3858"/>
                    <a:pt x="0" y="3858"/>
                    <a:pt x="42" y="3757"/>
                  </a:cubicBezTo>
                  <a:cubicBezTo>
                    <a:pt x="1218" y="860"/>
                    <a:pt x="6681" y="2044"/>
                    <a:pt x="7928" y="315"/>
                  </a:cubicBezTo>
                  <a:cubicBezTo>
                    <a:pt x="8157" y="0"/>
                    <a:pt x="8155" y="244"/>
                    <a:pt x="8123" y="374"/>
                  </a:cubicBezTo>
                  <a:cubicBezTo>
                    <a:pt x="7331" y="3484"/>
                    <a:pt x="2144" y="1519"/>
                    <a:pt x="212" y="3827"/>
                  </a:cubicBezTo>
                  <a:cubicBezTo>
                    <a:pt x="171" y="3875"/>
                    <a:pt x="99" y="3911"/>
                    <a:pt x="58" y="38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9" name="Freeform 9"/>
            <p:cNvSpPr>
              <a:spLocks/>
            </p:cNvSpPr>
            <p:nvPr/>
          </p:nvSpPr>
          <p:spPr bwMode="white">
            <a:xfrm>
              <a:off x="8237005" y="392425"/>
              <a:ext cx="157725" cy="368719"/>
            </a:xfrm>
            <a:custGeom>
              <a:avLst/>
              <a:gdLst>
                <a:gd name="T0" fmla="*/ 3645 w 3661"/>
                <a:gd name="T1" fmla="*/ 2724 h 8570"/>
                <a:gd name="T2" fmla="*/ 3288 w 3661"/>
                <a:gd name="T3" fmla="*/ 2624 h 8570"/>
                <a:gd name="T4" fmla="*/ 1665 w 3661"/>
                <a:gd name="T5" fmla="*/ 3390 h 8570"/>
                <a:gd name="T6" fmla="*/ 2367 w 3661"/>
                <a:gd name="T7" fmla="*/ 371 h 8570"/>
                <a:gd name="T8" fmla="*/ 809 w 3661"/>
                <a:gd name="T9" fmla="*/ 4293 h 8570"/>
                <a:gd name="T10" fmla="*/ 459 w 3661"/>
                <a:gd name="T11" fmla="*/ 8450 h 8570"/>
                <a:gd name="T12" fmla="*/ 1545 w 3661"/>
                <a:gd name="T13" fmla="*/ 4521 h 8570"/>
                <a:gd name="T14" fmla="*/ 3418 w 3661"/>
                <a:gd name="T15" fmla="*/ 3003 h 8570"/>
                <a:gd name="T16" fmla="*/ 3645 w 3661"/>
                <a:gd name="T17" fmla="*/ 2724 h 8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61" h="8570">
                  <a:moveTo>
                    <a:pt x="3645" y="2724"/>
                  </a:moveTo>
                  <a:cubicBezTo>
                    <a:pt x="3618" y="2614"/>
                    <a:pt x="3485" y="2592"/>
                    <a:pt x="3288" y="2624"/>
                  </a:cubicBezTo>
                  <a:cubicBezTo>
                    <a:pt x="3077" y="2657"/>
                    <a:pt x="2521" y="2753"/>
                    <a:pt x="1665" y="3390"/>
                  </a:cubicBezTo>
                  <a:cubicBezTo>
                    <a:pt x="1956" y="960"/>
                    <a:pt x="2385" y="513"/>
                    <a:pt x="2367" y="371"/>
                  </a:cubicBezTo>
                  <a:cubicBezTo>
                    <a:pt x="2325" y="33"/>
                    <a:pt x="1437" y="0"/>
                    <a:pt x="809" y="4293"/>
                  </a:cubicBezTo>
                  <a:cubicBezTo>
                    <a:pt x="163" y="5873"/>
                    <a:pt x="0" y="8356"/>
                    <a:pt x="459" y="8450"/>
                  </a:cubicBezTo>
                  <a:cubicBezTo>
                    <a:pt x="1053" y="8570"/>
                    <a:pt x="1323" y="6323"/>
                    <a:pt x="1545" y="4521"/>
                  </a:cubicBezTo>
                  <a:cubicBezTo>
                    <a:pt x="1994" y="3733"/>
                    <a:pt x="2950" y="3228"/>
                    <a:pt x="3418" y="3003"/>
                  </a:cubicBezTo>
                  <a:cubicBezTo>
                    <a:pt x="3629" y="2901"/>
                    <a:pt x="3661" y="2790"/>
                    <a:pt x="3645" y="27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0" name="Freeform 10"/>
            <p:cNvSpPr>
              <a:spLocks/>
            </p:cNvSpPr>
            <p:nvPr/>
          </p:nvSpPr>
          <p:spPr bwMode="white">
            <a:xfrm>
              <a:off x="8377858" y="385789"/>
              <a:ext cx="542179" cy="262179"/>
            </a:xfrm>
            <a:custGeom>
              <a:avLst/>
              <a:gdLst>
                <a:gd name="T0" fmla="*/ 9351 w 12588"/>
                <a:gd name="T1" fmla="*/ 848 h 6096"/>
                <a:gd name="T2" fmla="*/ 6832 w 12588"/>
                <a:gd name="T3" fmla="*/ 3597 h 6096"/>
                <a:gd name="T4" fmla="*/ 6312 w 12588"/>
                <a:gd name="T5" fmla="*/ 4119 h 6096"/>
                <a:gd name="T6" fmla="*/ 4932 w 12588"/>
                <a:gd name="T7" fmla="*/ 3977 h 6096"/>
                <a:gd name="T8" fmla="*/ 6629 w 12588"/>
                <a:gd name="T9" fmla="*/ 1522 h 6096"/>
                <a:gd name="T10" fmla="*/ 6177 w 12588"/>
                <a:gd name="T11" fmla="*/ 1412 h 6096"/>
                <a:gd name="T12" fmla="*/ 4067 w 12588"/>
                <a:gd name="T13" fmla="*/ 1880 h 6096"/>
                <a:gd name="T14" fmla="*/ 3698 w 12588"/>
                <a:gd name="T15" fmla="*/ 1683 h 6096"/>
                <a:gd name="T16" fmla="*/ 3750 w 12588"/>
                <a:gd name="T17" fmla="*/ 1975 h 6096"/>
                <a:gd name="T18" fmla="*/ 2721 w 12588"/>
                <a:gd name="T19" fmla="*/ 4588 h 6096"/>
                <a:gd name="T20" fmla="*/ 2637 w 12588"/>
                <a:gd name="T21" fmla="*/ 3938 h 6096"/>
                <a:gd name="T22" fmla="*/ 2789 w 12588"/>
                <a:gd name="T23" fmla="*/ 3312 h 6096"/>
                <a:gd name="T24" fmla="*/ 2344 w 12588"/>
                <a:gd name="T25" fmla="*/ 3180 h 6096"/>
                <a:gd name="T26" fmla="*/ 1897 w 12588"/>
                <a:gd name="T27" fmla="*/ 4130 h 6096"/>
                <a:gd name="T28" fmla="*/ 1117 w 12588"/>
                <a:gd name="T29" fmla="*/ 4803 h 6096"/>
                <a:gd name="T30" fmla="*/ 1390 w 12588"/>
                <a:gd name="T31" fmla="*/ 3389 h 6096"/>
                <a:gd name="T32" fmla="*/ 2263 w 12588"/>
                <a:gd name="T33" fmla="*/ 2652 h 6096"/>
                <a:gd name="T34" fmla="*/ 2701 w 12588"/>
                <a:gd name="T35" fmla="*/ 2779 h 6096"/>
                <a:gd name="T36" fmla="*/ 2504 w 12588"/>
                <a:gd name="T37" fmla="*/ 2281 h 6096"/>
                <a:gd name="T38" fmla="*/ 569 w 12588"/>
                <a:gd name="T39" fmla="*/ 3564 h 6096"/>
                <a:gd name="T40" fmla="*/ 546 w 12588"/>
                <a:gd name="T41" fmla="*/ 5934 h 6096"/>
                <a:gd name="T42" fmla="*/ 1841 w 12588"/>
                <a:gd name="T43" fmla="*/ 4848 h 6096"/>
                <a:gd name="T44" fmla="*/ 2281 w 12588"/>
                <a:gd name="T45" fmla="*/ 5566 h 6096"/>
                <a:gd name="T46" fmla="*/ 4028 w 12588"/>
                <a:gd name="T47" fmla="*/ 2206 h 6096"/>
                <a:gd name="T48" fmla="*/ 6038 w 12588"/>
                <a:gd name="T49" fmla="*/ 2093 h 6096"/>
                <a:gd name="T50" fmla="*/ 3818 w 12588"/>
                <a:gd name="T51" fmla="*/ 4451 h 6096"/>
                <a:gd name="T52" fmla="*/ 3662 w 12588"/>
                <a:gd name="T53" fmla="*/ 5160 h 6096"/>
                <a:gd name="T54" fmla="*/ 4046 w 12588"/>
                <a:gd name="T55" fmla="*/ 4979 h 6096"/>
                <a:gd name="T56" fmla="*/ 5541 w 12588"/>
                <a:gd name="T57" fmla="*/ 4709 h 6096"/>
                <a:gd name="T58" fmla="*/ 6943 w 12588"/>
                <a:gd name="T59" fmla="*/ 3936 h 6096"/>
                <a:gd name="T60" fmla="*/ 7813 w 12588"/>
                <a:gd name="T61" fmla="*/ 4314 h 6096"/>
                <a:gd name="T62" fmla="*/ 10525 w 12588"/>
                <a:gd name="T63" fmla="*/ 1055 h 6096"/>
                <a:gd name="T64" fmla="*/ 10657 w 12588"/>
                <a:gd name="T65" fmla="*/ 2235 h 6096"/>
                <a:gd name="T66" fmla="*/ 10909 w 12588"/>
                <a:gd name="T67" fmla="*/ 3539 h 6096"/>
                <a:gd name="T68" fmla="*/ 12581 w 12588"/>
                <a:gd name="T69" fmla="*/ 1902 h 6096"/>
                <a:gd name="T70" fmla="*/ 12517 w 12588"/>
                <a:gd name="T71" fmla="*/ 1701 h 6096"/>
                <a:gd name="T72" fmla="*/ 12386 w 12588"/>
                <a:gd name="T73" fmla="*/ 1812 h 6096"/>
                <a:gd name="T74" fmla="*/ 11500 w 12588"/>
                <a:gd name="T75" fmla="*/ 2750 h 6096"/>
                <a:gd name="T76" fmla="*/ 11387 w 12588"/>
                <a:gd name="T77" fmla="*/ 1219 h 6096"/>
                <a:gd name="T78" fmla="*/ 10665 w 12588"/>
                <a:gd name="T79" fmla="*/ 468 h 6096"/>
                <a:gd name="T80" fmla="*/ 10406 w 12588"/>
                <a:gd name="T81" fmla="*/ 227 h 6096"/>
                <a:gd name="T82" fmla="*/ 7936 w 12588"/>
                <a:gd name="T83" fmla="*/ 3603 h 6096"/>
                <a:gd name="T84" fmla="*/ 7761 w 12588"/>
                <a:gd name="T85" fmla="*/ 2121 h 6096"/>
                <a:gd name="T86" fmla="*/ 8696 w 12588"/>
                <a:gd name="T87" fmla="*/ 1332 h 6096"/>
                <a:gd name="T88" fmla="*/ 8034 w 12588"/>
                <a:gd name="T89" fmla="*/ 2470 h 6096"/>
                <a:gd name="T90" fmla="*/ 7904 w 12588"/>
                <a:gd name="T91" fmla="*/ 2625 h 6096"/>
                <a:gd name="T92" fmla="*/ 8147 w 12588"/>
                <a:gd name="T93" fmla="*/ 2701 h 6096"/>
                <a:gd name="T94" fmla="*/ 9351 w 12588"/>
                <a:gd name="T95" fmla="*/ 848 h 6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588" h="6096">
                  <a:moveTo>
                    <a:pt x="9351" y="848"/>
                  </a:moveTo>
                  <a:cubicBezTo>
                    <a:pt x="8431" y="28"/>
                    <a:pt x="6483" y="1805"/>
                    <a:pt x="6832" y="3597"/>
                  </a:cubicBezTo>
                  <a:cubicBezTo>
                    <a:pt x="6688" y="3993"/>
                    <a:pt x="6454" y="4101"/>
                    <a:pt x="6312" y="4119"/>
                  </a:cubicBezTo>
                  <a:cubicBezTo>
                    <a:pt x="5923" y="4168"/>
                    <a:pt x="5666" y="3742"/>
                    <a:pt x="4932" y="3977"/>
                  </a:cubicBezTo>
                  <a:cubicBezTo>
                    <a:pt x="5824" y="2907"/>
                    <a:pt x="6987" y="2091"/>
                    <a:pt x="6629" y="1522"/>
                  </a:cubicBezTo>
                  <a:cubicBezTo>
                    <a:pt x="6517" y="1344"/>
                    <a:pt x="6419" y="1292"/>
                    <a:pt x="6177" y="1412"/>
                  </a:cubicBezTo>
                  <a:cubicBezTo>
                    <a:pt x="5381" y="1804"/>
                    <a:pt x="4341" y="2073"/>
                    <a:pt x="4067" y="1880"/>
                  </a:cubicBezTo>
                  <a:cubicBezTo>
                    <a:pt x="4005" y="1625"/>
                    <a:pt x="3772" y="1584"/>
                    <a:pt x="3698" y="1683"/>
                  </a:cubicBezTo>
                  <a:cubicBezTo>
                    <a:pt x="3633" y="1768"/>
                    <a:pt x="3684" y="1882"/>
                    <a:pt x="3750" y="1975"/>
                  </a:cubicBezTo>
                  <a:cubicBezTo>
                    <a:pt x="3727" y="3144"/>
                    <a:pt x="3048" y="4671"/>
                    <a:pt x="2721" y="4588"/>
                  </a:cubicBezTo>
                  <a:cubicBezTo>
                    <a:pt x="2558" y="4545"/>
                    <a:pt x="2596" y="4242"/>
                    <a:pt x="2637" y="3938"/>
                  </a:cubicBezTo>
                  <a:cubicBezTo>
                    <a:pt x="2671" y="3682"/>
                    <a:pt x="2767" y="3400"/>
                    <a:pt x="2789" y="3312"/>
                  </a:cubicBezTo>
                  <a:cubicBezTo>
                    <a:pt x="2870" y="2989"/>
                    <a:pt x="2471" y="2934"/>
                    <a:pt x="2344" y="3180"/>
                  </a:cubicBezTo>
                  <a:cubicBezTo>
                    <a:pt x="2191" y="3477"/>
                    <a:pt x="2072" y="3844"/>
                    <a:pt x="1897" y="4130"/>
                  </a:cubicBezTo>
                  <a:cubicBezTo>
                    <a:pt x="1628" y="4577"/>
                    <a:pt x="1350" y="4905"/>
                    <a:pt x="1117" y="4803"/>
                  </a:cubicBezTo>
                  <a:cubicBezTo>
                    <a:pt x="846" y="4685"/>
                    <a:pt x="1007" y="4004"/>
                    <a:pt x="1390" y="3389"/>
                  </a:cubicBezTo>
                  <a:cubicBezTo>
                    <a:pt x="1743" y="2823"/>
                    <a:pt x="2071" y="2662"/>
                    <a:pt x="2263" y="2652"/>
                  </a:cubicBezTo>
                  <a:cubicBezTo>
                    <a:pt x="2518" y="2638"/>
                    <a:pt x="2582" y="2823"/>
                    <a:pt x="2701" y="2779"/>
                  </a:cubicBezTo>
                  <a:cubicBezTo>
                    <a:pt x="2839" y="2730"/>
                    <a:pt x="2823" y="2412"/>
                    <a:pt x="2504" y="2281"/>
                  </a:cubicBezTo>
                  <a:cubicBezTo>
                    <a:pt x="1917" y="2041"/>
                    <a:pt x="1009" y="2690"/>
                    <a:pt x="569" y="3564"/>
                  </a:cubicBezTo>
                  <a:cubicBezTo>
                    <a:pt x="92" y="4512"/>
                    <a:pt x="0" y="5743"/>
                    <a:pt x="546" y="5934"/>
                  </a:cubicBezTo>
                  <a:cubicBezTo>
                    <a:pt x="1003" y="6096"/>
                    <a:pt x="1605" y="5357"/>
                    <a:pt x="1841" y="4848"/>
                  </a:cubicBezTo>
                  <a:cubicBezTo>
                    <a:pt x="1854" y="5120"/>
                    <a:pt x="1924" y="5511"/>
                    <a:pt x="2281" y="5566"/>
                  </a:cubicBezTo>
                  <a:cubicBezTo>
                    <a:pt x="2940" y="5669"/>
                    <a:pt x="3948" y="3725"/>
                    <a:pt x="4028" y="2206"/>
                  </a:cubicBezTo>
                  <a:cubicBezTo>
                    <a:pt x="4324" y="2445"/>
                    <a:pt x="5357" y="2398"/>
                    <a:pt x="6038" y="2093"/>
                  </a:cubicBezTo>
                  <a:cubicBezTo>
                    <a:pt x="5460" y="2764"/>
                    <a:pt x="4062" y="4098"/>
                    <a:pt x="3818" y="4451"/>
                  </a:cubicBezTo>
                  <a:cubicBezTo>
                    <a:pt x="3574" y="4804"/>
                    <a:pt x="3476" y="5028"/>
                    <a:pt x="3662" y="5160"/>
                  </a:cubicBezTo>
                  <a:cubicBezTo>
                    <a:pt x="3803" y="5260"/>
                    <a:pt x="3897" y="5125"/>
                    <a:pt x="4046" y="4979"/>
                  </a:cubicBezTo>
                  <a:cubicBezTo>
                    <a:pt x="4730" y="4311"/>
                    <a:pt x="5043" y="4637"/>
                    <a:pt x="5541" y="4709"/>
                  </a:cubicBezTo>
                  <a:cubicBezTo>
                    <a:pt x="5936" y="4767"/>
                    <a:pt x="6607" y="4679"/>
                    <a:pt x="6943" y="3936"/>
                  </a:cubicBezTo>
                  <a:cubicBezTo>
                    <a:pt x="7154" y="4219"/>
                    <a:pt x="7519" y="4308"/>
                    <a:pt x="7813" y="4314"/>
                  </a:cubicBezTo>
                  <a:cubicBezTo>
                    <a:pt x="8924" y="4331"/>
                    <a:pt x="10162" y="2804"/>
                    <a:pt x="10525" y="1055"/>
                  </a:cubicBezTo>
                  <a:cubicBezTo>
                    <a:pt x="10945" y="1254"/>
                    <a:pt x="10774" y="1724"/>
                    <a:pt x="10657" y="2235"/>
                  </a:cubicBezTo>
                  <a:cubicBezTo>
                    <a:pt x="10525" y="2807"/>
                    <a:pt x="10550" y="3368"/>
                    <a:pt x="10909" y="3539"/>
                  </a:cubicBezTo>
                  <a:cubicBezTo>
                    <a:pt x="11724" y="3927"/>
                    <a:pt x="12533" y="2542"/>
                    <a:pt x="12581" y="1902"/>
                  </a:cubicBezTo>
                  <a:cubicBezTo>
                    <a:pt x="12588" y="1797"/>
                    <a:pt x="12564" y="1717"/>
                    <a:pt x="12517" y="1701"/>
                  </a:cubicBezTo>
                  <a:cubicBezTo>
                    <a:pt x="12463" y="1681"/>
                    <a:pt x="12414" y="1730"/>
                    <a:pt x="12386" y="1812"/>
                  </a:cubicBezTo>
                  <a:cubicBezTo>
                    <a:pt x="12244" y="2240"/>
                    <a:pt x="11822" y="2840"/>
                    <a:pt x="11500" y="2750"/>
                  </a:cubicBezTo>
                  <a:cubicBezTo>
                    <a:pt x="11097" y="2638"/>
                    <a:pt x="11484" y="1762"/>
                    <a:pt x="11387" y="1219"/>
                  </a:cubicBezTo>
                  <a:cubicBezTo>
                    <a:pt x="11311" y="800"/>
                    <a:pt x="10894" y="652"/>
                    <a:pt x="10665" y="468"/>
                  </a:cubicBezTo>
                  <a:cubicBezTo>
                    <a:pt x="10668" y="91"/>
                    <a:pt x="10444" y="0"/>
                    <a:pt x="10406" y="227"/>
                  </a:cubicBezTo>
                  <a:cubicBezTo>
                    <a:pt x="9991" y="2763"/>
                    <a:pt x="8674" y="3863"/>
                    <a:pt x="7936" y="3603"/>
                  </a:cubicBezTo>
                  <a:cubicBezTo>
                    <a:pt x="7441" y="3427"/>
                    <a:pt x="7550" y="2645"/>
                    <a:pt x="7761" y="2121"/>
                  </a:cubicBezTo>
                  <a:cubicBezTo>
                    <a:pt x="8003" y="1521"/>
                    <a:pt x="8495" y="1150"/>
                    <a:pt x="8696" y="1332"/>
                  </a:cubicBezTo>
                  <a:cubicBezTo>
                    <a:pt x="8910" y="1527"/>
                    <a:pt x="8567" y="2293"/>
                    <a:pt x="8034" y="2470"/>
                  </a:cubicBezTo>
                  <a:cubicBezTo>
                    <a:pt x="7904" y="2513"/>
                    <a:pt x="7890" y="2580"/>
                    <a:pt x="7904" y="2625"/>
                  </a:cubicBezTo>
                  <a:cubicBezTo>
                    <a:pt x="7924" y="2688"/>
                    <a:pt x="8020" y="2722"/>
                    <a:pt x="8147" y="2701"/>
                  </a:cubicBezTo>
                  <a:cubicBezTo>
                    <a:pt x="9272" y="2522"/>
                    <a:pt x="9854" y="1297"/>
                    <a:pt x="9351" y="8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grpSp>
        <p:nvGrpSpPr>
          <p:cNvPr id="29" name="Ryhmä 1"/>
          <p:cNvGrpSpPr/>
          <p:nvPr/>
        </p:nvGrpSpPr>
        <p:grpSpPr>
          <a:xfrm>
            <a:off x="8128800" y="118800"/>
            <a:ext cx="871657" cy="870519"/>
            <a:chOff x="8127242" y="116975"/>
            <a:chExt cx="871657" cy="870519"/>
          </a:xfrm>
        </p:grpSpPr>
        <p:sp>
          <p:nvSpPr>
            <p:cNvPr id="30" name="Freeform 5"/>
            <p:cNvSpPr>
              <a:spLocks/>
            </p:cNvSpPr>
            <p:nvPr/>
          </p:nvSpPr>
          <p:spPr bwMode="white">
            <a:xfrm>
              <a:off x="8128948" y="118681"/>
              <a:ext cx="868434" cy="867107"/>
            </a:xfrm>
            <a:custGeom>
              <a:avLst/>
              <a:gdLst>
                <a:gd name="T0" fmla="*/ 20157 w 20157"/>
                <a:gd name="T1" fmla="*/ 10078 h 20156"/>
                <a:gd name="T2" fmla="*/ 10079 w 20157"/>
                <a:gd name="T3" fmla="*/ 20156 h 20156"/>
                <a:gd name="T4" fmla="*/ 0 w 20157"/>
                <a:gd name="T5" fmla="*/ 10078 h 20156"/>
                <a:gd name="T6" fmla="*/ 10079 w 20157"/>
                <a:gd name="T7" fmla="*/ 0 h 20156"/>
                <a:gd name="T8" fmla="*/ 20157 w 20157"/>
                <a:gd name="T9" fmla="*/ 10078 h 20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157" h="20156">
                  <a:moveTo>
                    <a:pt x="20157" y="10078"/>
                  </a:moveTo>
                  <a:cubicBezTo>
                    <a:pt x="20157" y="15644"/>
                    <a:pt x="15644" y="20156"/>
                    <a:pt x="10079" y="20156"/>
                  </a:cubicBezTo>
                  <a:cubicBezTo>
                    <a:pt x="4512" y="20156"/>
                    <a:pt x="0" y="15644"/>
                    <a:pt x="0" y="10078"/>
                  </a:cubicBezTo>
                  <a:cubicBezTo>
                    <a:pt x="0" y="4512"/>
                    <a:pt x="4512" y="0"/>
                    <a:pt x="10079" y="0"/>
                  </a:cubicBezTo>
                  <a:cubicBezTo>
                    <a:pt x="15644" y="0"/>
                    <a:pt x="20157" y="4512"/>
                    <a:pt x="20157" y="100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1" name="Freeform 6"/>
            <p:cNvSpPr>
              <a:spLocks/>
            </p:cNvSpPr>
            <p:nvPr/>
          </p:nvSpPr>
          <p:spPr bwMode="black">
            <a:xfrm>
              <a:off x="8141460" y="131003"/>
              <a:ext cx="843411" cy="842462"/>
            </a:xfrm>
            <a:custGeom>
              <a:avLst/>
              <a:gdLst>
                <a:gd name="T0" fmla="*/ 19577 w 19577"/>
                <a:gd name="T1" fmla="*/ 9788 h 19576"/>
                <a:gd name="T2" fmla="*/ 9789 w 19577"/>
                <a:gd name="T3" fmla="*/ 19576 h 19576"/>
                <a:gd name="T4" fmla="*/ 0 w 19577"/>
                <a:gd name="T5" fmla="*/ 9788 h 19576"/>
                <a:gd name="T6" fmla="*/ 9789 w 19577"/>
                <a:gd name="T7" fmla="*/ 0 h 19576"/>
                <a:gd name="T8" fmla="*/ 19577 w 19577"/>
                <a:gd name="T9" fmla="*/ 9788 h 19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77" h="19576">
                  <a:moveTo>
                    <a:pt x="19577" y="9788"/>
                  </a:moveTo>
                  <a:cubicBezTo>
                    <a:pt x="19577" y="15194"/>
                    <a:pt x="15194" y="19576"/>
                    <a:pt x="9789" y="19576"/>
                  </a:cubicBezTo>
                  <a:cubicBezTo>
                    <a:pt x="4382" y="19576"/>
                    <a:pt x="0" y="15194"/>
                    <a:pt x="0" y="9788"/>
                  </a:cubicBezTo>
                  <a:cubicBezTo>
                    <a:pt x="0" y="4382"/>
                    <a:pt x="4382" y="0"/>
                    <a:pt x="9789" y="0"/>
                  </a:cubicBezTo>
                  <a:cubicBezTo>
                    <a:pt x="15194" y="0"/>
                    <a:pt x="19577" y="4382"/>
                    <a:pt x="19577" y="9788"/>
                  </a:cubicBezTo>
                  <a:close/>
                </a:path>
              </a:pathLst>
            </a:custGeom>
            <a:solidFill>
              <a:srgbClr val="1525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2" name="AutoShape 3"/>
            <p:cNvSpPr>
              <a:spLocks noChangeAspect="1" noChangeArrowheads="1" noTextEdit="1"/>
            </p:cNvSpPr>
            <p:nvPr/>
          </p:nvSpPr>
          <p:spPr bwMode="hidden">
            <a:xfrm>
              <a:off x="8127242" y="116975"/>
              <a:ext cx="871657" cy="8705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3" name="Freeform 7"/>
            <p:cNvSpPr>
              <a:spLocks/>
            </p:cNvSpPr>
            <p:nvPr/>
          </p:nvSpPr>
          <p:spPr bwMode="white">
            <a:xfrm>
              <a:off x="8363260" y="591666"/>
              <a:ext cx="475260" cy="293080"/>
            </a:xfrm>
            <a:custGeom>
              <a:avLst/>
              <a:gdLst>
                <a:gd name="T0" fmla="*/ 10290 w 11030"/>
                <a:gd name="T1" fmla="*/ 76 h 6809"/>
                <a:gd name="T2" fmla="*/ 10869 w 11030"/>
                <a:gd name="T3" fmla="*/ 1274 h 6809"/>
                <a:gd name="T4" fmla="*/ 149 w 11030"/>
                <a:gd name="T5" fmla="*/ 3905 h 6809"/>
                <a:gd name="T6" fmla="*/ 23 w 11030"/>
                <a:gd name="T7" fmla="*/ 3696 h 6809"/>
                <a:gd name="T8" fmla="*/ 201 w 11030"/>
                <a:gd name="T9" fmla="*/ 3719 h 6809"/>
                <a:gd name="T10" fmla="*/ 9259 w 11030"/>
                <a:gd name="T11" fmla="*/ 812 h 6809"/>
                <a:gd name="T12" fmla="*/ 10290 w 11030"/>
                <a:gd name="T13" fmla="*/ 76 h 6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030" h="6809">
                  <a:moveTo>
                    <a:pt x="10290" y="76"/>
                  </a:moveTo>
                  <a:cubicBezTo>
                    <a:pt x="10826" y="166"/>
                    <a:pt x="11030" y="749"/>
                    <a:pt x="10869" y="1274"/>
                  </a:cubicBezTo>
                  <a:cubicBezTo>
                    <a:pt x="9736" y="4966"/>
                    <a:pt x="3442" y="6809"/>
                    <a:pt x="149" y="3905"/>
                  </a:cubicBezTo>
                  <a:cubicBezTo>
                    <a:pt x="27" y="3798"/>
                    <a:pt x="0" y="3735"/>
                    <a:pt x="23" y="3696"/>
                  </a:cubicBezTo>
                  <a:cubicBezTo>
                    <a:pt x="37" y="3671"/>
                    <a:pt x="85" y="3640"/>
                    <a:pt x="201" y="3719"/>
                  </a:cubicBezTo>
                  <a:cubicBezTo>
                    <a:pt x="3791" y="6181"/>
                    <a:pt x="8235" y="3695"/>
                    <a:pt x="9259" y="812"/>
                  </a:cubicBezTo>
                  <a:cubicBezTo>
                    <a:pt x="9467" y="226"/>
                    <a:pt x="9832" y="0"/>
                    <a:pt x="10290" y="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4" name="Freeform 8"/>
            <p:cNvSpPr>
              <a:spLocks/>
            </p:cNvSpPr>
            <p:nvPr/>
          </p:nvSpPr>
          <p:spPr bwMode="white">
            <a:xfrm>
              <a:off x="8229611" y="270719"/>
              <a:ext cx="351468" cy="168341"/>
            </a:xfrm>
            <a:custGeom>
              <a:avLst/>
              <a:gdLst>
                <a:gd name="T0" fmla="*/ 58 w 8157"/>
                <a:gd name="T1" fmla="*/ 3881 h 3911"/>
                <a:gd name="T2" fmla="*/ 42 w 8157"/>
                <a:gd name="T3" fmla="*/ 3757 h 3911"/>
                <a:gd name="T4" fmla="*/ 7928 w 8157"/>
                <a:gd name="T5" fmla="*/ 315 h 3911"/>
                <a:gd name="T6" fmla="*/ 8123 w 8157"/>
                <a:gd name="T7" fmla="*/ 374 h 3911"/>
                <a:gd name="T8" fmla="*/ 212 w 8157"/>
                <a:gd name="T9" fmla="*/ 3827 h 3911"/>
                <a:gd name="T10" fmla="*/ 58 w 8157"/>
                <a:gd name="T11" fmla="*/ 3881 h 39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57" h="3911">
                  <a:moveTo>
                    <a:pt x="58" y="3881"/>
                  </a:moveTo>
                  <a:cubicBezTo>
                    <a:pt x="25" y="3858"/>
                    <a:pt x="0" y="3858"/>
                    <a:pt x="42" y="3757"/>
                  </a:cubicBezTo>
                  <a:cubicBezTo>
                    <a:pt x="1218" y="860"/>
                    <a:pt x="6681" y="2044"/>
                    <a:pt x="7928" y="315"/>
                  </a:cubicBezTo>
                  <a:cubicBezTo>
                    <a:pt x="8157" y="0"/>
                    <a:pt x="8155" y="244"/>
                    <a:pt x="8123" y="374"/>
                  </a:cubicBezTo>
                  <a:cubicBezTo>
                    <a:pt x="7331" y="3484"/>
                    <a:pt x="2144" y="1519"/>
                    <a:pt x="212" y="3827"/>
                  </a:cubicBezTo>
                  <a:cubicBezTo>
                    <a:pt x="171" y="3875"/>
                    <a:pt x="99" y="3911"/>
                    <a:pt x="58" y="38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5" name="Freeform 9"/>
            <p:cNvSpPr>
              <a:spLocks/>
            </p:cNvSpPr>
            <p:nvPr/>
          </p:nvSpPr>
          <p:spPr bwMode="white">
            <a:xfrm>
              <a:off x="8237005" y="392425"/>
              <a:ext cx="157725" cy="368719"/>
            </a:xfrm>
            <a:custGeom>
              <a:avLst/>
              <a:gdLst>
                <a:gd name="T0" fmla="*/ 3645 w 3661"/>
                <a:gd name="T1" fmla="*/ 2724 h 8570"/>
                <a:gd name="T2" fmla="*/ 3288 w 3661"/>
                <a:gd name="T3" fmla="*/ 2624 h 8570"/>
                <a:gd name="T4" fmla="*/ 1665 w 3661"/>
                <a:gd name="T5" fmla="*/ 3390 h 8570"/>
                <a:gd name="T6" fmla="*/ 2367 w 3661"/>
                <a:gd name="T7" fmla="*/ 371 h 8570"/>
                <a:gd name="T8" fmla="*/ 809 w 3661"/>
                <a:gd name="T9" fmla="*/ 4293 h 8570"/>
                <a:gd name="T10" fmla="*/ 459 w 3661"/>
                <a:gd name="T11" fmla="*/ 8450 h 8570"/>
                <a:gd name="T12" fmla="*/ 1545 w 3661"/>
                <a:gd name="T13" fmla="*/ 4521 h 8570"/>
                <a:gd name="T14" fmla="*/ 3418 w 3661"/>
                <a:gd name="T15" fmla="*/ 3003 h 8570"/>
                <a:gd name="T16" fmla="*/ 3645 w 3661"/>
                <a:gd name="T17" fmla="*/ 2724 h 8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61" h="8570">
                  <a:moveTo>
                    <a:pt x="3645" y="2724"/>
                  </a:moveTo>
                  <a:cubicBezTo>
                    <a:pt x="3618" y="2614"/>
                    <a:pt x="3485" y="2592"/>
                    <a:pt x="3288" y="2624"/>
                  </a:cubicBezTo>
                  <a:cubicBezTo>
                    <a:pt x="3077" y="2657"/>
                    <a:pt x="2521" y="2753"/>
                    <a:pt x="1665" y="3390"/>
                  </a:cubicBezTo>
                  <a:cubicBezTo>
                    <a:pt x="1956" y="960"/>
                    <a:pt x="2385" y="513"/>
                    <a:pt x="2367" y="371"/>
                  </a:cubicBezTo>
                  <a:cubicBezTo>
                    <a:pt x="2325" y="33"/>
                    <a:pt x="1437" y="0"/>
                    <a:pt x="809" y="4293"/>
                  </a:cubicBezTo>
                  <a:cubicBezTo>
                    <a:pt x="163" y="5873"/>
                    <a:pt x="0" y="8356"/>
                    <a:pt x="459" y="8450"/>
                  </a:cubicBezTo>
                  <a:cubicBezTo>
                    <a:pt x="1053" y="8570"/>
                    <a:pt x="1323" y="6323"/>
                    <a:pt x="1545" y="4521"/>
                  </a:cubicBezTo>
                  <a:cubicBezTo>
                    <a:pt x="1994" y="3733"/>
                    <a:pt x="2950" y="3228"/>
                    <a:pt x="3418" y="3003"/>
                  </a:cubicBezTo>
                  <a:cubicBezTo>
                    <a:pt x="3629" y="2901"/>
                    <a:pt x="3661" y="2790"/>
                    <a:pt x="3645" y="27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6" name="Freeform 10"/>
            <p:cNvSpPr>
              <a:spLocks/>
            </p:cNvSpPr>
            <p:nvPr/>
          </p:nvSpPr>
          <p:spPr bwMode="white">
            <a:xfrm>
              <a:off x="8377858" y="385789"/>
              <a:ext cx="542179" cy="262179"/>
            </a:xfrm>
            <a:custGeom>
              <a:avLst/>
              <a:gdLst>
                <a:gd name="T0" fmla="*/ 9351 w 12588"/>
                <a:gd name="T1" fmla="*/ 848 h 6096"/>
                <a:gd name="T2" fmla="*/ 6832 w 12588"/>
                <a:gd name="T3" fmla="*/ 3597 h 6096"/>
                <a:gd name="T4" fmla="*/ 6312 w 12588"/>
                <a:gd name="T5" fmla="*/ 4119 h 6096"/>
                <a:gd name="T6" fmla="*/ 4932 w 12588"/>
                <a:gd name="T7" fmla="*/ 3977 h 6096"/>
                <a:gd name="T8" fmla="*/ 6629 w 12588"/>
                <a:gd name="T9" fmla="*/ 1522 h 6096"/>
                <a:gd name="T10" fmla="*/ 6177 w 12588"/>
                <a:gd name="T11" fmla="*/ 1412 h 6096"/>
                <a:gd name="T12" fmla="*/ 4067 w 12588"/>
                <a:gd name="T13" fmla="*/ 1880 h 6096"/>
                <a:gd name="T14" fmla="*/ 3698 w 12588"/>
                <a:gd name="T15" fmla="*/ 1683 h 6096"/>
                <a:gd name="T16" fmla="*/ 3750 w 12588"/>
                <a:gd name="T17" fmla="*/ 1975 h 6096"/>
                <a:gd name="T18" fmla="*/ 2721 w 12588"/>
                <a:gd name="T19" fmla="*/ 4588 h 6096"/>
                <a:gd name="T20" fmla="*/ 2637 w 12588"/>
                <a:gd name="T21" fmla="*/ 3938 h 6096"/>
                <a:gd name="T22" fmla="*/ 2789 w 12588"/>
                <a:gd name="T23" fmla="*/ 3312 h 6096"/>
                <a:gd name="T24" fmla="*/ 2344 w 12588"/>
                <a:gd name="T25" fmla="*/ 3180 h 6096"/>
                <a:gd name="T26" fmla="*/ 1897 w 12588"/>
                <a:gd name="T27" fmla="*/ 4130 h 6096"/>
                <a:gd name="T28" fmla="*/ 1117 w 12588"/>
                <a:gd name="T29" fmla="*/ 4803 h 6096"/>
                <a:gd name="T30" fmla="*/ 1390 w 12588"/>
                <a:gd name="T31" fmla="*/ 3389 h 6096"/>
                <a:gd name="T32" fmla="*/ 2263 w 12588"/>
                <a:gd name="T33" fmla="*/ 2652 h 6096"/>
                <a:gd name="T34" fmla="*/ 2701 w 12588"/>
                <a:gd name="T35" fmla="*/ 2779 h 6096"/>
                <a:gd name="T36" fmla="*/ 2504 w 12588"/>
                <a:gd name="T37" fmla="*/ 2281 h 6096"/>
                <a:gd name="T38" fmla="*/ 569 w 12588"/>
                <a:gd name="T39" fmla="*/ 3564 h 6096"/>
                <a:gd name="T40" fmla="*/ 546 w 12588"/>
                <a:gd name="T41" fmla="*/ 5934 h 6096"/>
                <a:gd name="T42" fmla="*/ 1841 w 12588"/>
                <a:gd name="T43" fmla="*/ 4848 h 6096"/>
                <a:gd name="T44" fmla="*/ 2281 w 12588"/>
                <a:gd name="T45" fmla="*/ 5566 h 6096"/>
                <a:gd name="T46" fmla="*/ 4028 w 12588"/>
                <a:gd name="T47" fmla="*/ 2206 h 6096"/>
                <a:gd name="T48" fmla="*/ 6038 w 12588"/>
                <a:gd name="T49" fmla="*/ 2093 h 6096"/>
                <a:gd name="T50" fmla="*/ 3818 w 12588"/>
                <a:gd name="T51" fmla="*/ 4451 h 6096"/>
                <a:gd name="T52" fmla="*/ 3662 w 12588"/>
                <a:gd name="T53" fmla="*/ 5160 h 6096"/>
                <a:gd name="T54" fmla="*/ 4046 w 12588"/>
                <a:gd name="T55" fmla="*/ 4979 h 6096"/>
                <a:gd name="T56" fmla="*/ 5541 w 12588"/>
                <a:gd name="T57" fmla="*/ 4709 h 6096"/>
                <a:gd name="T58" fmla="*/ 6943 w 12588"/>
                <a:gd name="T59" fmla="*/ 3936 h 6096"/>
                <a:gd name="T60" fmla="*/ 7813 w 12588"/>
                <a:gd name="T61" fmla="*/ 4314 h 6096"/>
                <a:gd name="T62" fmla="*/ 10525 w 12588"/>
                <a:gd name="T63" fmla="*/ 1055 h 6096"/>
                <a:gd name="T64" fmla="*/ 10657 w 12588"/>
                <a:gd name="T65" fmla="*/ 2235 h 6096"/>
                <a:gd name="T66" fmla="*/ 10909 w 12588"/>
                <a:gd name="T67" fmla="*/ 3539 h 6096"/>
                <a:gd name="T68" fmla="*/ 12581 w 12588"/>
                <a:gd name="T69" fmla="*/ 1902 h 6096"/>
                <a:gd name="T70" fmla="*/ 12517 w 12588"/>
                <a:gd name="T71" fmla="*/ 1701 h 6096"/>
                <a:gd name="T72" fmla="*/ 12386 w 12588"/>
                <a:gd name="T73" fmla="*/ 1812 h 6096"/>
                <a:gd name="T74" fmla="*/ 11500 w 12588"/>
                <a:gd name="T75" fmla="*/ 2750 h 6096"/>
                <a:gd name="T76" fmla="*/ 11387 w 12588"/>
                <a:gd name="T77" fmla="*/ 1219 h 6096"/>
                <a:gd name="T78" fmla="*/ 10665 w 12588"/>
                <a:gd name="T79" fmla="*/ 468 h 6096"/>
                <a:gd name="T80" fmla="*/ 10406 w 12588"/>
                <a:gd name="T81" fmla="*/ 227 h 6096"/>
                <a:gd name="T82" fmla="*/ 7936 w 12588"/>
                <a:gd name="T83" fmla="*/ 3603 h 6096"/>
                <a:gd name="T84" fmla="*/ 7761 w 12588"/>
                <a:gd name="T85" fmla="*/ 2121 h 6096"/>
                <a:gd name="T86" fmla="*/ 8696 w 12588"/>
                <a:gd name="T87" fmla="*/ 1332 h 6096"/>
                <a:gd name="T88" fmla="*/ 8034 w 12588"/>
                <a:gd name="T89" fmla="*/ 2470 h 6096"/>
                <a:gd name="T90" fmla="*/ 7904 w 12588"/>
                <a:gd name="T91" fmla="*/ 2625 h 6096"/>
                <a:gd name="T92" fmla="*/ 8147 w 12588"/>
                <a:gd name="T93" fmla="*/ 2701 h 6096"/>
                <a:gd name="T94" fmla="*/ 9351 w 12588"/>
                <a:gd name="T95" fmla="*/ 848 h 6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588" h="6096">
                  <a:moveTo>
                    <a:pt x="9351" y="848"/>
                  </a:moveTo>
                  <a:cubicBezTo>
                    <a:pt x="8431" y="28"/>
                    <a:pt x="6483" y="1805"/>
                    <a:pt x="6832" y="3597"/>
                  </a:cubicBezTo>
                  <a:cubicBezTo>
                    <a:pt x="6688" y="3993"/>
                    <a:pt x="6454" y="4101"/>
                    <a:pt x="6312" y="4119"/>
                  </a:cubicBezTo>
                  <a:cubicBezTo>
                    <a:pt x="5923" y="4168"/>
                    <a:pt x="5666" y="3742"/>
                    <a:pt x="4932" y="3977"/>
                  </a:cubicBezTo>
                  <a:cubicBezTo>
                    <a:pt x="5824" y="2907"/>
                    <a:pt x="6987" y="2091"/>
                    <a:pt x="6629" y="1522"/>
                  </a:cubicBezTo>
                  <a:cubicBezTo>
                    <a:pt x="6517" y="1344"/>
                    <a:pt x="6419" y="1292"/>
                    <a:pt x="6177" y="1412"/>
                  </a:cubicBezTo>
                  <a:cubicBezTo>
                    <a:pt x="5381" y="1804"/>
                    <a:pt x="4341" y="2073"/>
                    <a:pt x="4067" y="1880"/>
                  </a:cubicBezTo>
                  <a:cubicBezTo>
                    <a:pt x="4005" y="1625"/>
                    <a:pt x="3772" y="1584"/>
                    <a:pt x="3698" y="1683"/>
                  </a:cubicBezTo>
                  <a:cubicBezTo>
                    <a:pt x="3633" y="1768"/>
                    <a:pt x="3684" y="1882"/>
                    <a:pt x="3750" y="1975"/>
                  </a:cubicBezTo>
                  <a:cubicBezTo>
                    <a:pt x="3727" y="3144"/>
                    <a:pt x="3048" y="4671"/>
                    <a:pt x="2721" y="4588"/>
                  </a:cubicBezTo>
                  <a:cubicBezTo>
                    <a:pt x="2558" y="4545"/>
                    <a:pt x="2596" y="4242"/>
                    <a:pt x="2637" y="3938"/>
                  </a:cubicBezTo>
                  <a:cubicBezTo>
                    <a:pt x="2671" y="3682"/>
                    <a:pt x="2767" y="3400"/>
                    <a:pt x="2789" y="3312"/>
                  </a:cubicBezTo>
                  <a:cubicBezTo>
                    <a:pt x="2870" y="2989"/>
                    <a:pt x="2471" y="2934"/>
                    <a:pt x="2344" y="3180"/>
                  </a:cubicBezTo>
                  <a:cubicBezTo>
                    <a:pt x="2191" y="3477"/>
                    <a:pt x="2072" y="3844"/>
                    <a:pt x="1897" y="4130"/>
                  </a:cubicBezTo>
                  <a:cubicBezTo>
                    <a:pt x="1628" y="4577"/>
                    <a:pt x="1350" y="4905"/>
                    <a:pt x="1117" y="4803"/>
                  </a:cubicBezTo>
                  <a:cubicBezTo>
                    <a:pt x="846" y="4685"/>
                    <a:pt x="1007" y="4004"/>
                    <a:pt x="1390" y="3389"/>
                  </a:cubicBezTo>
                  <a:cubicBezTo>
                    <a:pt x="1743" y="2823"/>
                    <a:pt x="2071" y="2662"/>
                    <a:pt x="2263" y="2652"/>
                  </a:cubicBezTo>
                  <a:cubicBezTo>
                    <a:pt x="2518" y="2638"/>
                    <a:pt x="2582" y="2823"/>
                    <a:pt x="2701" y="2779"/>
                  </a:cubicBezTo>
                  <a:cubicBezTo>
                    <a:pt x="2839" y="2730"/>
                    <a:pt x="2823" y="2412"/>
                    <a:pt x="2504" y="2281"/>
                  </a:cubicBezTo>
                  <a:cubicBezTo>
                    <a:pt x="1917" y="2041"/>
                    <a:pt x="1009" y="2690"/>
                    <a:pt x="569" y="3564"/>
                  </a:cubicBezTo>
                  <a:cubicBezTo>
                    <a:pt x="92" y="4512"/>
                    <a:pt x="0" y="5743"/>
                    <a:pt x="546" y="5934"/>
                  </a:cubicBezTo>
                  <a:cubicBezTo>
                    <a:pt x="1003" y="6096"/>
                    <a:pt x="1605" y="5357"/>
                    <a:pt x="1841" y="4848"/>
                  </a:cubicBezTo>
                  <a:cubicBezTo>
                    <a:pt x="1854" y="5120"/>
                    <a:pt x="1924" y="5511"/>
                    <a:pt x="2281" y="5566"/>
                  </a:cubicBezTo>
                  <a:cubicBezTo>
                    <a:pt x="2940" y="5669"/>
                    <a:pt x="3948" y="3725"/>
                    <a:pt x="4028" y="2206"/>
                  </a:cubicBezTo>
                  <a:cubicBezTo>
                    <a:pt x="4324" y="2445"/>
                    <a:pt x="5357" y="2398"/>
                    <a:pt x="6038" y="2093"/>
                  </a:cubicBezTo>
                  <a:cubicBezTo>
                    <a:pt x="5460" y="2764"/>
                    <a:pt x="4062" y="4098"/>
                    <a:pt x="3818" y="4451"/>
                  </a:cubicBezTo>
                  <a:cubicBezTo>
                    <a:pt x="3574" y="4804"/>
                    <a:pt x="3476" y="5028"/>
                    <a:pt x="3662" y="5160"/>
                  </a:cubicBezTo>
                  <a:cubicBezTo>
                    <a:pt x="3803" y="5260"/>
                    <a:pt x="3897" y="5125"/>
                    <a:pt x="4046" y="4979"/>
                  </a:cubicBezTo>
                  <a:cubicBezTo>
                    <a:pt x="4730" y="4311"/>
                    <a:pt x="5043" y="4637"/>
                    <a:pt x="5541" y="4709"/>
                  </a:cubicBezTo>
                  <a:cubicBezTo>
                    <a:pt x="5936" y="4767"/>
                    <a:pt x="6607" y="4679"/>
                    <a:pt x="6943" y="3936"/>
                  </a:cubicBezTo>
                  <a:cubicBezTo>
                    <a:pt x="7154" y="4219"/>
                    <a:pt x="7519" y="4308"/>
                    <a:pt x="7813" y="4314"/>
                  </a:cubicBezTo>
                  <a:cubicBezTo>
                    <a:pt x="8924" y="4331"/>
                    <a:pt x="10162" y="2804"/>
                    <a:pt x="10525" y="1055"/>
                  </a:cubicBezTo>
                  <a:cubicBezTo>
                    <a:pt x="10945" y="1254"/>
                    <a:pt x="10774" y="1724"/>
                    <a:pt x="10657" y="2235"/>
                  </a:cubicBezTo>
                  <a:cubicBezTo>
                    <a:pt x="10525" y="2807"/>
                    <a:pt x="10550" y="3368"/>
                    <a:pt x="10909" y="3539"/>
                  </a:cubicBezTo>
                  <a:cubicBezTo>
                    <a:pt x="11724" y="3927"/>
                    <a:pt x="12533" y="2542"/>
                    <a:pt x="12581" y="1902"/>
                  </a:cubicBezTo>
                  <a:cubicBezTo>
                    <a:pt x="12588" y="1797"/>
                    <a:pt x="12564" y="1717"/>
                    <a:pt x="12517" y="1701"/>
                  </a:cubicBezTo>
                  <a:cubicBezTo>
                    <a:pt x="12463" y="1681"/>
                    <a:pt x="12414" y="1730"/>
                    <a:pt x="12386" y="1812"/>
                  </a:cubicBezTo>
                  <a:cubicBezTo>
                    <a:pt x="12244" y="2240"/>
                    <a:pt x="11822" y="2840"/>
                    <a:pt x="11500" y="2750"/>
                  </a:cubicBezTo>
                  <a:cubicBezTo>
                    <a:pt x="11097" y="2638"/>
                    <a:pt x="11484" y="1762"/>
                    <a:pt x="11387" y="1219"/>
                  </a:cubicBezTo>
                  <a:cubicBezTo>
                    <a:pt x="11311" y="800"/>
                    <a:pt x="10894" y="652"/>
                    <a:pt x="10665" y="468"/>
                  </a:cubicBezTo>
                  <a:cubicBezTo>
                    <a:pt x="10668" y="91"/>
                    <a:pt x="10444" y="0"/>
                    <a:pt x="10406" y="227"/>
                  </a:cubicBezTo>
                  <a:cubicBezTo>
                    <a:pt x="9991" y="2763"/>
                    <a:pt x="8674" y="3863"/>
                    <a:pt x="7936" y="3603"/>
                  </a:cubicBezTo>
                  <a:cubicBezTo>
                    <a:pt x="7441" y="3427"/>
                    <a:pt x="7550" y="2645"/>
                    <a:pt x="7761" y="2121"/>
                  </a:cubicBezTo>
                  <a:cubicBezTo>
                    <a:pt x="8003" y="1521"/>
                    <a:pt x="8495" y="1150"/>
                    <a:pt x="8696" y="1332"/>
                  </a:cubicBezTo>
                  <a:cubicBezTo>
                    <a:pt x="8910" y="1527"/>
                    <a:pt x="8567" y="2293"/>
                    <a:pt x="8034" y="2470"/>
                  </a:cubicBezTo>
                  <a:cubicBezTo>
                    <a:pt x="7904" y="2513"/>
                    <a:pt x="7890" y="2580"/>
                    <a:pt x="7904" y="2625"/>
                  </a:cubicBezTo>
                  <a:cubicBezTo>
                    <a:pt x="7924" y="2688"/>
                    <a:pt x="8020" y="2722"/>
                    <a:pt x="8147" y="2701"/>
                  </a:cubicBezTo>
                  <a:cubicBezTo>
                    <a:pt x="9272" y="2522"/>
                    <a:pt x="9854" y="1297"/>
                    <a:pt x="9351" y="8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Päivämäärän paikkamerkki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5.6.2024</a:t>
            </a:fld>
            <a:endParaRPr lang="fi-FI" dirty="0"/>
          </a:p>
        </p:txBody>
      </p:sp>
      <p:sp>
        <p:nvSpPr>
          <p:cNvPr id="3" name="Alatunnisteen paikkamerkki 2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ompany confidential © Fazer. All rights reserved</a:t>
            </a:r>
            <a:endParaRPr lang="fi-FI" dirty="0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226564AF-05CA-4248-B377-CA202B9278C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2046"/>
            <a:ext cx="9143998" cy="5143498"/>
          </a:xfrm>
          <a:prstGeom prst="rect">
            <a:avLst/>
          </a:prstGeom>
        </p:spPr>
      </p:pic>
      <p:grpSp>
        <p:nvGrpSpPr>
          <p:cNvPr id="25" name="Ryhmä 9">
            <a:extLst>
              <a:ext uri="{FF2B5EF4-FFF2-40B4-BE49-F238E27FC236}">
                <a16:creationId xmlns:a16="http://schemas.microsoft.com/office/drawing/2014/main" id="{69715BDE-5894-F045-8796-1F1F937681CE}"/>
              </a:ext>
            </a:extLst>
          </p:cNvPr>
          <p:cNvGrpSpPr/>
          <p:nvPr userDrawn="1"/>
        </p:nvGrpSpPr>
        <p:grpSpPr>
          <a:xfrm>
            <a:off x="8127242" y="116975"/>
            <a:ext cx="871657" cy="870519"/>
            <a:chOff x="8127242" y="116975"/>
            <a:chExt cx="871657" cy="870519"/>
          </a:xfrm>
        </p:grpSpPr>
        <p:sp>
          <p:nvSpPr>
            <p:cNvPr id="26" name="Freeform 5">
              <a:extLst>
                <a:ext uri="{FF2B5EF4-FFF2-40B4-BE49-F238E27FC236}">
                  <a16:creationId xmlns:a16="http://schemas.microsoft.com/office/drawing/2014/main" id="{BE8DD59F-176D-FF4E-B7BD-B4BB0E37CD9A}"/>
                </a:ext>
              </a:extLst>
            </p:cNvPr>
            <p:cNvSpPr>
              <a:spLocks/>
            </p:cNvSpPr>
            <p:nvPr/>
          </p:nvSpPr>
          <p:spPr bwMode="white">
            <a:xfrm>
              <a:off x="8128948" y="118681"/>
              <a:ext cx="868434" cy="867107"/>
            </a:xfrm>
            <a:custGeom>
              <a:avLst/>
              <a:gdLst>
                <a:gd name="T0" fmla="*/ 20157 w 20157"/>
                <a:gd name="T1" fmla="*/ 10078 h 20156"/>
                <a:gd name="T2" fmla="*/ 10079 w 20157"/>
                <a:gd name="T3" fmla="*/ 20156 h 20156"/>
                <a:gd name="T4" fmla="*/ 0 w 20157"/>
                <a:gd name="T5" fmla="*/ 10078 h 20156"/>
                <a:gd name="T6" fmla="*/ 10079 w 20157"/>
                <a:gd name="T7" fmla="*/ 0 h 20156"/>
                <a:gd name="T8" fmla="*/ 20157 w 20157"/>
                <a:gd name="T9" fmla="*/ 10078 h 20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157" h="20156">
                  <a:moveTo>
                    <a:pt x="20157" y="10078"/>
                  </a:moveTo>
                  <a:cubicBezTo>
                    <a:pt x="20157" y="15644"/>
                    <a:pt x="15644" y="20156"/>
                    <a:pt x="10079" y="20156"/>
                  </a:cubicBezTo>
                  <a:cubicBezTo>
                    <a:pt x="4512" y="20156"/>
                    <a:pt x="0" y="15644"/>
                    <a:pt x="0" y="10078"/>
                  </a:cubicBezTo>
                  <a:cubicBezTo>
                    <a:pt x="0" y="4512"/>
                    <a:pt x="4512" y="0"/>
                    <a:pt x="10079" y="0"/>
                  </a:cubicBezTo>
                  <a:cubicBezTo>
                    <a:pt x="15644" y="0"/>
                    <a:pt x="20157" y="4512"/>
                    <a:pt x="20157" y="100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7" name="Freeform 6">
              <a:extLst>
                <a:ext uri="{FF2B5EF4-FFF2-40B4-BE49-F238E27FC236}">
                  <a16:creationId xmlns:a16="http://schemas.microsoft.com/office/drawing/2014/main" id="{553A3221-4AB9-C44F-859E-EDAB470CBAD5}"/>
                </a:ext>
              </a:extLst>
            </p:cNvPr>
            <p:cNvSpPr>
              <a:spLocks/>
            </p:cNvSpPr>
            <p:nvPr/>
          </p:nvSpPr>
          <p:spPr bwMode="black">
            <a:xfrm>
              <a:off x="8141460" y="131003"/>
              <a:ext cx="843411" cy="842462"/>
            </a:xfrm>
            <a:custGeom>
              <a:avLst/>
              <a:gdLst>
                <a:gd name="T0" fmla="*/ 19577 w 19577"/>
                <a:gd name="T1" fmla="*/ 9788 h 19576"/>
                <a:gd name="T2" fmla="*/ 9789 w 19577"/>
                <a:gd name="T3" fmla="*/ 19576 h 19576"/>
                <a:gd name="T4" fmla="*/ 0 w 19577"/>
                <a:gd name="T5" fmla="*/ 9788 h 19576"/>
                <a:gd name="T6" fmla="*/ 9789 w 19577"/>
                <a:gd name="T7" fmla="*/ 0 h 19576"/>
                <a:gd name="T8" fmla="*/ 19577 w 19577"/>
                <a:gd name="T9" fmla="*/ 9788 h 19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77" h="19576">
                  <a:moveTo>
                    <a:pt x="19577" y="9788"/>
                  </a:moveTo>
                  <a:cubicBezTo>
                    <a:pt x="19577" y="15194"/>
                    <a:pt x="15194" y="19576"/>
                    <a:pt x="9789" y="19576"/>
                  </a:cubicBezTo>
                  <a:cubicBezTo>
                    <a:pt x="4382" y="19576"/>
                    <a:pt x="0" y="15194"/>
                    <a:pt x="0" y="9788"/>
                  </a:cubicBezTo>
                  <a:cubicBezTo>
                    <a:pt x="0" y="4382"/>
                    <a:pt x="4382" y="0"/>
                    <a:pt x="9789" y="0"/>
                  </a:cubicBezTo>
                  <a:cubicBezTo>
                    <a:pt x="15194" y="0"/>
                    <a:pt x="19577" y="4382"/>
                    <a:pt x="19577" y="9788"/>
                  </a:cubicBezTo>
                  <a:close/>
                </a:path>
              </a:pathLst>
            </a:custGeom>
            <a:solidFill>
              <a:srgbClr val="1525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8" name="AutoShape 3">
              <a:extLst>
                <a:ext uri="{FF2B5EF4-FFF2-40B4-BE49-F238E27FC236}">
                  <a16:creationId xmlns:a16="http://schemas.microsoft.com/office/drawing/2014/main" id="{6917AC6E-CF11-5F49-99FF-EB3D602C09C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hidden">
            <a:xfrm>
              <a:off x="8127242" y="116975"/>
              <a:ext cx="871657" cy="8705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7" name="Freeform 7">
              <a:extLst>
                <a:ext uri="{FF2B5EF4-FFF2-40B4-BE49-F238E27FC236}">
                  <a16:creationId xmlns:a16="http://schemas.microsoft.com/office/drawing/2014/main" id="{38EABA3F-91C2-0B4A-99CC-3380EFFF1F18}"/>
                </a:ext>
              </a:extLst>
            </p:cNvPr>
            <p:cNvSpPr>
              <a:spLocks/>
            </p:cNvSpPr>
            <p:nvPr/>
          </p:nvSpPr>
          <p:spPr bwMode="white">
            <a:xfrm>
              <a:off x="8363260" y="591666"/>
              <a:ext cx="475260" cy="293080"/>
            </a:xfrm>
            <a:custGeom>
              <a:avLst/>
              <a:gdLst>
                <a:gd name="T0" fmla="*/ 10290 w 11030"/>
                <a:gd name="T1" fmla="*/ 76 h 6809"/>
                <a:gd name="T2" fmla="*/ 10869 w 11030"/>
                <a:gd name="T3" fmla="*/ 1274 h 6809"/>
                <a:gd name="T4" fmla="*/ 149 w 11030"/>
                <a:gd name="T5" fmla="*/ 3905 h 6809"/>
                <a:gd name="T6" fmla="*/ 23 w 11030"/>
                <a:gd name="T7" fmla="*/ 3696 h 6809"/>
                <a:gd name="T8" fmla="*/ 201 w 11030"/>
                <a:gd name="T9" fmla="*/ 3719 h 6809"/>
                <a:gd name="T10" fmla="*/ 9259 w 11030"/>
                <a:gd name="T11" fmla="*/ 812 h 6809"/>
                <a:gd name="T12" fmla="*/ 10290 w 11030"/>
                <a:gd name="T13" fmla="*/ 76 h 6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030" h="6809">
                  <a:moveTo>
                    <a:pt x="10290" y="76"/>
                  </a:moveTo>
                  <a:cubicBezTo>
                    <a:pt x="10826" y="166"/>
                    <a:pt x="11030" y="749"/>
                    <a:pt x="10869" y="1274"/>
                  </a:cubicBezTo>
                  <a:cubicBezTo>
                    <a:pt x="9736" y="4966"/>
                    <a:pt x="3442" y="6809"/>
                    <a:pt x="149" y="3905"/>
                  </a:cubicBezTo>
                  <a:cubicBezTo>
                    <a:pt x="27" y="3798"/>
                    <a:pt x="0" y="3735"/>
                    <a:pt x="23" y="3696"/>
                  </a:cubicBezTo>
                  <a:cubicBezTo>
                    <a:pt x="37" y="3671"/>
                    <a:pt x="85" y="3640"/>
                    <a:pt x="201" y="3719"/>
                  </a:cubicBezTo>
                  <a:cubicBezTo>
                    <a:pt x="3791" y="6181"/>
                    <a:pt x="8235" y="3695"/>
                    <a:pt x="9259" y="812"/>
                  </a:cubicBezTo>
                  <a:cubicBezTo>
                    <a:pt x="9467" y="226"/>
                    <a:pt x="9832" y="0"/>
                    <a:pt x="10290" y="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8" name="Freeform 8">
              <a:extLst>
                <a:ext uri="{FF2B5EF4-FFF2-40B4-BE49-F238E27FC236}">
                  <a16:creationId xmlns:a16="http://schemas.microsoft.com/office/drawing/2014/main" id="{168A13A4-D338-3A41-BBC2-DC61ADAD64F8}"/>
                </a:ext>
              </a:extLst>
            </p:cNvPr>
            <p:cNvSpPr>
              <a:spLocks/>
            </p:cNvSpPr>
            <p:nvPr/>
          </p:nvSpPr>
          <p:spPr bwMode="white">
            <a:xfrm>
              <a:off x="8229611" y="270719"/>
              <a:ext cx="351468" cy="168341"/>
            </a:xfrm>
            <a:custGeom>
              <a:avLst/>
              <a:gdLst>
                <a:gd name="T0" fmla="*/ 58 w 8157"/>
                <a:gd name="T1" fmla="*/ 3881 h 3911"/>
                <a:gd name="T2" fmla="*/ 42 w 8157"/>
                <a:gd name="T3" fmla="*/ 3757 h 3911"/>
                <a:gd name="T4" fmla="*/ 7928 w 8157"/>
                <a:gd name="T5" fmla="*/ 315 h 3911"/>
                <a:gd name="T6" fmla="*/ 8123 w 8157"/>
                <a:gd name="T7" fmla="*/ 374 h 3911"/>
                <a:gd name="T8" fmla="*/ 212 w 8157"/>
                <a:gd name="T9" fmla="*/ 3827 h 3911"/>
                <a:gd name="T10" fmla="*/ 58 w 8157"/>
                <a:gd name="T11" fmla="*/ 3881 h 39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57" h="3911">
                  <a:moveTo>
                    <a:pt x="58" y="3881"/>
                  </a:moveTo>
                  <a:cubicBezTo>
                    <a:pt x="25" y="3858"/>
                    <a:pt x="0" y="3858"/>
                    <a:pt x="42" y="3757"/>
                  </a:cubicBezTo>
                  <a:cubicBezTo>
                    <a:pt x="1218" y="860"/>
                    <a:pt x="6681" y="2044"/>
                    <a:pt x="7928" y="315"/>
                  </a:cubicBezTo>
                  <a:cubicBezTo>
                    <a:pt x="8157" y="0"/>
                    <a:pt x="8155" y="244"/>
                    <a:pt x="8123" y="374"/>
                  </a:cubicBezTo>
                  <a:cubicBezTo>
                    <a:pt x="7331" y="3484"/>
                    <a:pt x="2144" y="1519"/>
                    <a:pt x="212" y="3827"/>
                  </a:cubicBezTo>
                  <a:cubicBezTo>
                    <a:pt x="171" y="3875"/>
                    <a:pt x="99" y="3911"/>
                    <a:pt x="58" y="38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9" name="Freeform 9">
              <a:extLst>
                <a:ext uri="{FF2B5EF4-FFF2-40B4-BE49-F238E27FC236}">
                  <a16:creationId xmlns:a16="http://schemas.microsoft.com/office/drawing/2014/main" id="{EF86E850-6669-4C47-9CF5-752480D6BF16}"/>
                </a:ext>
              </a:extLst>
            </p:cNvPr>
            <p:cNvSpPr>
              <a:spLocks/>
            </p:cNvSpPr>
            <p:nvPr/>
          </p:nvSpPr>
          <p:spPr bwMode="white">
            <a:xfrm>
              <a:off x="8237005" y="392425"/>
              <a:ext cx="157725" cy="368719"/>
            </a:xfrm>
            <a:custGeom>
              <a:avLst/>
              <a:gdLst>
                <a:gd name="T0" fmla="*/ 3645 w 3661"/>
                <a:gd name="T1" fmla="*/ 2724 h 8570"/>
                <a:gd name="T2" fmla="*/ 3288 w 3661"/>
                <a:gd name="T3" fmla="*/ 2624 h 8570"/>
                <a:gd name="T4" fmla="*/ 1665 w 3661"/>
                <a:gd name="T5" fmla="*/ 3390 h 8570"/>
                <a:gd name="T6" fmla="*/ 2367 w 3661"/>
                <a:gd name="T7" fmla="*/ 371 h 8570"/>
                <a:gd name="T8" fmla="*/ 809 w 3661"/>
                <a:gd name="T9" fmla="*/ 4293 h 8570"/>
                <a:gd name="T10" fmla="*/ 459 w 3661"/>
                <a:gd name="T11" fmla="*/ 8450 h 8570"/>
                <a:gd name="T12" fmla="*/ 1545 w 3661"/>
                <a:gd name="T13" fmla="*/ 4521 h 8570"/>
                <a:gd name="T14" fmla="*/ 3418 w 3661"/>
                <a:gd name="T15" fmla="*/ 3003 h 8570"/>
                <a:gd name="T16" fmla="*/ 3645 w 3661"/>
                <a:gd name="T17" fmla="*/ 2724 h 8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61" h="8570">
                  <a:moveTo>
                    <a:pt x="3645" y="2724"/>
                  </a:moveTo>
                  <a:cubicBezTo>
                    <a:pt x="3618" y="2614"/>
                    <a:pt x="3485" y="2592"/>
                    <a:pt x="3288" y="2624"/>
                  </a:cubicBezTo>
                  <a:cubicBezTo>
                    <a:pt x="3077" y="2657"/>
                    <a:pt x="2521" y="2753"/>
                    <a:pt x="1665" y="3390"/>
                  </a:cubicBezTo>
                  <a:cubicBezTo>
                    <a:pt x="1956" y="960"/>
                    <a:pt x="2385" y="513"/>
                    <a:pt x="2367" y="371"/>
                  </a:cubicBezTo>
                  <a:cubicBezTo>
                    <a:pt x="2325" y="33"/>
                    <a:pt x="1437" y="0"/>
                    <a:pt x="809" y="4293"/>
                  </a:cubicBezTo>
                  <a:cubicBezTo>
                    <a:pt x="163" y="5873"/>
                    <a:pt x="0" y="8356"/>
                    <a:pt x="459" y="8450"/>
                  </a:cubicBezTo>
                  <a:cubicBezTo>
                    <a:pt x="1053" y="8570"/>
                    <a:pt x="1323" y="6323"/>
                    <a:pt x="1545" y="4521"/>
                  </a:cubicBezTo>
                  <a:cubicBezTo>
                    <a:pt x="1994" y="3733"/>
                    <a:pt x="2950" y="3228"/>
                    <a:pt x="3418" y="3003"/>
                  </a:cubicBezTo>
                  <a:cubicBezTo>
                    <a:pt x="3629" y="2901"/>
                    <a:pt x="3661" y="2790"/>
                    <a:pt x="3645" y="27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40" name="Freeform 10">
              <a:extLst>
                <a:ext uri="{FF2B5EF4-FFF2-40B4-BE49-F238E27FC236}">
                  <a16:creationId xmlns:a16="http://schemas.microsoft.com/office/drawing/2014/main" id="{550D750F-B26C-AB4E-AA55-A3A405AD3F4B}"/>
                </a:ext>
              </a:extLst>
            </p:cNvPr>
            <p:cNvSpPr>
              <a:spLocks/>
            </p:cNvSpPr>
            <p:nvPr/>
          </p:nvSpPr>
          <p:spPr bwMode="white">
            <a:xfrm>
              <a:off x="8377858" y="385789"/>
              <a:ext cx="542179" cy="262179"/>
            </a:xfrm>
            <a:custGeom>
              <a:avLst/>
              <a:gdLst>
                <a:gd name="T0" fmla="*/ 9351 w 12588"/>
                <a:gd name="T1" fmla="*/ 848 h 6096"/>
                <a:gd name="T2" fmla="*/ 6832 w 12588"/>
                <a:gd name="T3" fmla="*/ 3597 h 6096"/>
                <a:gd name="T4" fmla="*/ 6312 w 12588"/>
                <a:gd name="T5" fmla="*/ 4119 h 6096"/>
                <a:gd name="T6" fmla="*/ 4932 w 12588"/>
                <a:gd name="T7" fmla="*/ 3977 h 6096"/>
                <a:gd name="T8" fmla="*/ 6629 w 12588"/>
                <a:gd name="T9" fmla="*/ 1522 h 6096"/>
                <a:gd name="T10" fmla="*/ 6177 w 12588"/>
                <a:gd name="T11" fmla="*/ 1412 h 6096"/>
                <a:gd name="T12" fmla="*/ 4067 w 12588"/>
                <a:gd name="T13" fmla="*/ 1880 h 6096"/>
                <a:gd name="T14" fmla="*/ 3698 w 12588"/>
                <a:gd name="T15" fmla="*/ 1683 h 6096"/>
                <a:gd name="T16" fmla="*/ 3750 w 12588"/>
                <a:gd name="T17" fmla="*/ 1975 h 6096"/>
                <a:gd name="T18" fmla="*/ 2721 w 12588"/>
                <a:gd name="T19" fmla="*/ 4588 h 6096"/>
                <a:gd name="T20" fmla="*/ 2637 w 12588"/>
                <a:gd name="T21" fmla="*/ 3938 h 6096"/>
                <a:gd name="T22" fmla="*/ 2789 w 12588"/>
                <a:gd name="T23" fmla="*/ 3312 h 6096"/>
                <a:gd name="T24" fmla="*/ 2344 w 12588"/>
                <a:gd name="T25" fmla="*/ 3180 h 6096"/>
                <a:gd name="T26" fmla="*/ 1897 w 12588"/>
                <a:gd name="T27" fmla="*/ 4130 h 6096"/>
                <a:gd name="T28" fmla="*/ 1117 w 12588"/>
                <a:gd name="T29" fmla="*/ 4803 h 6096"/>
                <a:gd name="T30" fmla="*/ 1390 w 12588"/>
                <a:gd name="T31" fmla="*/ 3389 h 6096"/>
                <a:gd name="T32" fmla="*/ 2263 w 12588"/>
                <a:gd name="T33" fmla="*/ 2652 h 6096"/>
                <a:gd name="T34" fmla="*/ 2701 w 12588"/>
                <a:gd name="T35" fmla="*/ 2779 h 6096"/>
                <a:gd name="T36" fmla="*/ 2504 w 12588"/>
                <a:gd name="T37" fmla="*/ 2281 h 6096"/>
                <a:gd name="T38" fmla="*/ 569 w 12588"/>
                <a:gd name="T39" fmla="*/ 3564 h 6096"/>
                <a:gd name="T40" fmla="*/ 546 w 12588"/>
                <a:gd name="T41" fmla="*/ 5934 h 6096"/>
                <a:gd name="T42" fmla="*/ 1841 w 12588"/>
                <a:gd name="T43" fmla="*/ 4848 h 6096"/>
                <a:gd name="T44" fmla="*/ 2281 w 12588"/>
                <a:gd name="T45" fmla="*/ 5566 h 6096"/>
                <a:gd name="T46" fmla="*/ 4028 w 12588"/>
                <a:gd name="T47" fmla="*/ 2206 h 6096"/>
                <a:gd name="T48" fmla="*/ 6038 w 12588"/>
                <a:gd name="T49" fmla="*/ 2093 h 6096"/>
                <a:gd name="T50" fmla="*/ 3818 w 12588"/>
                <a:gd name="T51" fmla="*/ 4451 h 6096"/>
                <a:gd name="T52" fmla="*/ 3662 w 12588"/>
                <a:gd name="T53" fmla="*/ 5160 h 6096"/>
                <a:gd name="T54" fmla="*/ 4046 w 12588"/>
                <a:gd name="T55" fmla="*/ 4979 h 6096"/>
                <a:gd name="T56" fmla="*/ 5541 w 12588"/>
                <a:gd name="T57" fmla="*/ 4709 h 6096"/>
                <a:gd name="T58" fmla="*/ 6943 w 12588"/>
                <a:gd name="T59" fmla="*/ 3936 h 6096"/>
                <a:gd name="T60" fmla="*/ 7813 w 12588"/>
                <a:gd name="T61" fmla="*/ 4314 h 6096"/>
                <a:gd name="T62" fmla="*/ 10525 w 12588"/>
                <a:gd name="T63" fmla="*/ 1055 h 6096"/>
                <a:gd name="T64" fmla="*/ 10657 w 12588"/>
                <a:gd name="T65" fmla="*/ 2235 h 6096"/>
                <a:gd name="T66" fmla="*/ 10909 w 12588"/>
                <a:gd name="T67" fmla="*/ 3539 h 6096"/>
                <a:gd name="T68" fmla="*/ 12581 w 12588"/>
                <a:gd name="T69" fmla="*/ 1902 h 6096"/>
                <a:gd name="T70" fmla="*/ 12517 w 12588"/>
                <a:gd name="T71" fmla="*/ 1701 h 6096"/>
                <a:gd name="T72" fmla="*/ 12386 w 12588"/>
                <a:gd name="T73" fmla="*/ 1812 h 6096"/>
                <a:gd name="T74" fmla="*/ 11500 w 12588"/>
                <a:gd name="T75" fmla="*/ 2750 h 6096"/>
                <a:gd name="T76" fmla="*/ 11387 w 12588"/>
                <a:gd name="T77" fmla="*/ 1219 h 6096"/>
                <a:gd name="T78" fmla="*/ 10665 w 12588"/>
                <a:gd name="T79" fmla="*/ 468 h 6096"/>
                <a:gd name="T80" fmla="*/ 10406 w 12588"/>
                <a:gd name="T81" fmla="*/ 227 h 6096"/>
                <a:gd name="T82" fmla="*/ 7936 w 12588"/>
                <a:gd name="T83" fmla="*/ 3603 h 6096"/>
                <a:gd name="T84" fmla="*/ 7761 w 12588"/>
                <a:gd name="T85" fmla="*/ 2121 h 6096"/>
                <a:gd name="T86" fmla="*/ 8696 w 12588"/>
                <a:gd name="T87" fmla="*/ 1332 h 6096"/>
                <a:gd name="T88" fmla="*/ 8034 w 12588"/>
                <a:gd name="T89" fmla="*/ 2470 h 6096"/>
                <a:gd name="T90" fmla="*/ 7904 w 12588"/>
                <a:gd name="T91" fmla="*/ 2625 h 6096"/>
                <a:gd name="T92" fmla="*/ 8147 w 12588"/>
                <a:gd name="T93" fmla="*/ 2701 h 6096"/>
                <a:gd name="T94" fmla="*/ 9351 w 12588"/>
                <a:gd name="T95" fmla="*/ 848 h 6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588" h="6096">
                  <a:moveTo>
                    <a:pt x="9351" y="848"/>
                  </a:moveTo>
                  <a:cubicBezTo>
                    <a:pt x="8431" y="28"/>
                    <a:pt x="6483" y="1805"/>
                    <a:pt x="6832" y="3597"/>
                  </a:cubicBezTo>
                  <a:cubicBezTo>
                    <a:pt x="6688" y="3993"/>
                    <a:pt x="6454" y="4101"/>
                    <a:pt x="6312" y="4119"/>
                  </a:cubicBezTo>
                  <a:cubicBezTo>
                    <a:pt x="5923" y="4168"/>
                    <a:pt x="5666" y="3742"/>
                    <a:pt x="4932" y="3977"/>
                  </a:cubicBezTo>
                  <a:cubicBezTo>
                    <a:pt x="5824" y="2907"/>
                    <a:pt x="6987" y="2091"/>
                    <a:pt x="6629" y="1522"/>
                  </a:cubicBezTo>
                  <a:cubicBezTo>
                    <a:pt x="6517" y="1344"/>
                    <a:pt x="6419" y="1292"/>
                    <a:pt x="6177" y="1412"/>
                  </a:cubicBezTo>
                  <a:cubicBezTo>
                    <a:pt x="5381" y="1804"/>
                    <a:pt x="4341" y="2073"/>
                    <a:pt x="4067" y="1880"/>
                  </a:cubicBezTo>
                  <a:cubicBezTo>
                    <a:pt x="4005" y="1625"/>
                    <a:pt x="3772" y="1584"/>
                    <a:pt x="3698" y="1683"/>
                  </a:cubicBezTo>
                  <a:cubicBezTo>
                    <a:pt x="3633" y="1768"/>
                    <a:pt x="3684" y="1882"/>
                    <a:pt x="3750" y="1975"/>
                  </a:cubicBezTo>
                  <a:cubicBezTo>
                    <a:pt x="3727" y="3144"/>
                    <a:pt x="3048" y="4671"/>
                    <a:pt x="2721" y="4588"/>
                  </a:cubicBezTo>
                  <a:cubicBezTo>
                    <a:pt x="2558" y="4545"/>
                    <a:pt x="2596" y="4242"/>
                    <a:pt x="2637" y="3938"/>
                  </a:cubicBezTo>
                  <a:cubicBezTo>
                    <a:pt x="2671" y="3682"/>
                    <a:pt x="2767" y="3400"/>
                    <a:pt x="2789" y="3312"/>
                  </a:cubicBezTo>
                  <a:cubicBezTo>
                    <a:pt x="2870" y="2989"/>
                    <a:pt x="2471" y="2934"/>
                    <a:pt x="2344" y="3180"/>
                  </a:cubicBezTo>
                  <a:cubicBezTo>
                    <a:pt x="2191" y="3477"/>
                    <a:pt x="2072" y="3844"/>
                    <a:pt x="1897" y="4130"/>
                  </a:cubicBezTo>
                  <a:cubicBezTo>
                    <a:pt x="1628" y="4577"/>
                    <a:pt x="1350" y="4905"/>
                    <a:pt x="1117" y="4803"/>
                  </a:cubicBezTo>
                  <a:cubicBezTo>
                    <a:pt x="846" y="4685"/>
                    <a:pt x="1007" y="4004"/>
                    <a:pt x="1390" y="3389"/>
                  </a:cubicBezTo>
                  <a:cubicBezTo>
                    <a:pt x="1743" y="2823"/>
                    <a:pt x="2071" y="2662"/>
                    <a:pt x="2263" y="2652"/>
                  </a:cubicBezTo>
                  <a:cubicBezTo>
                    <a:pt x="2518" y="2638"/>
                    <a:pt x="2582" y="2823"/>
                    <a:pt x="2701" y="2779"/>
                  </a:cubicBezTo>
                  <a:cubicBezTo>
                    <a:pt x="2839" y="2730"/>
                    <a:pt x="2823" y="2412"/>
                    <a:pt x="2504" y="2281"/>
                  </a:cubicBezTo>
                  <a:cubicBezTo>
                    <a:pt x="1917" y="2041"/>
                    <a:pt x="1009" y="2690"/>
                    <a:pt x="569" y="3564"/>
                  </a:cubicBezTo>
                  <a:cubicBezTo>
                    <a:pt x="92" y="4512"/>
                    <a:pt x="0" y="5743"/>
                    <a:pt x="546" y="5934"/>
                  </a:cubicBezTo>
                  <a:cubicBezTo>
                    <a:pt x="1003" y="6096"/>
                    <a:pt x="1605" y="5357"/>
                    <a:pt x="1841" y="4848"/>
                  </a:cubicBezTo>
                  <a:cubicBezTo>
                    <a:pt x="1854" y="5120"/>
                    <a:pt x="1924" y="5511"/>
                    <a:pt x="2281" y="5566"/>
                  </a:cubicBezTo>
                  <a:cubicBezTo>
                    <a:pt x="2940" y="5669"/>
                    <a:pt x="3948" y="3725"/>
                    <a:pt x="4028" y="2206"/>
                  </a:cubicBezTo>
                  <a:cubicBezTo>
                    <a:pt x="4324" y="2445"/>
                    <a:pt x="5357" y="2398"/>
                    <a:pt x="6038" y="2093"/>
                  </a:cubicBezTo>
                  <a:cubicBezTo>
                    <a:pt x="5460" y="2764"/>
                    <a:pt x="4062" y="4098"/>
                    <a:pt x="3818" y="4451"/>
                  </a:cubicBezTo>
                  <a:cubicBezTo>
                    <a:pt x="3574" y="4804"/>
                    <a:pt x="3476" y="5028"/>
                    <a:pt x="3662" y="5160"/>
                  </a:cubicBezTo>
                  <a:cubicBezTo>
                    <a:pt x="3803" y="5260"/>
                    <a:pt x="3897" y="5125"/>
                    <a:pt x="4046" y="4979"/>
                  </a:cubicBezTo>
                  <a:cubicBezTo>
                    <a:pt x="4730" y="4311"/>
                    <a:pt x="5043" y="4637"/>
                    <a:pt x="5541" y="4709"/>
                  </a:cubicBezTo>
                  <a:cubicBezTo>
                    <a:pt x="5936" y="4767"/>
                    <a:pt x="6607" y="4679"/>
                    <a:pt x="6943" y="3936"/>
                  </a:cubicBezTo>
                  <a:cubicBezTo>
                    <a:pt x="7154" y="4219"/>
                    <a:pt x="7519" y="4308"/>
                    <a:pt x="7813" y="4314"/>
                  </a:cubicBezTo>
                  <a:cubicBezTo>
                    <a:pt x="8924" y="4331"/>
                    <a:pt x="10162" y="2804"/>
                    <a:pt x="10525" y="1055"/>
                  </a:cubicBezTo>
                  <a:cubicBezTo>
                    <a:pt x="10945" y="1254"/>
                    <a:pt x="10774" y="1724"/>
                    <a:pt x="10657" y="2235"/>
                  </a:cubicBezTo>
                  <a:cubicBezTo>
                    <a:pt x="10525" y="2807"/>
                    <a:pt x="10550" y="3368"/>
                    <a:pt x="10909" y="3539"/>
                  </a:cubicBezTo>
                  <a:cubicBezTo>
                    <a:pt x="11724" y="3927"/>
                    <a:pt x="12533" y="2542"/>
                    <a:pt x="12581" y="1902"/>
                  </a:cubicBezTo>
                  <a:cubicBezTo>
                    <a:pt x="12588" y="1797"/>
                    <a:pt x="12564" y="1717"/>
                    <a:pt x="12517" y="1701"/>
                  </a:cubicBezTo>
                  <a:cubicBezTo>
                    <a:pt x="12463" y="1681"/>
                    <a:pt x="12414" y="1730"/>
                    <a:pt x="12386" y="1812"/>
                  </a:cubicBezTo>
                  <a:cubicBezTo>
                    <a:pt x="12244" y="2240"/>
                    <a:pt x="11822" y="2840"/>
                    <a:pt x="11500" y="2750"/>
                  </a:cubicBezTo>
                  <a:cubicBezTo>
                    <a:pt x="11097" y="2638"/>
                    <a:pt x="11484" y="1762"/>
                    <a:pt x="11387" y="1219"/>
                  </a:cubicBezTo>
                  <a:cubicBezTo>
                    <a:pt x="11311" y="800"/>
                    <a:pt x="10894" y="652"/>
                    <a:pt x="10665" y="468"/>
                  </a:cubicBezTo>
                  <a:cubicBezTo>
                    <a:pt x="10668" y="91"/>
                    <a:pt x="10444" y="0"/>
                    <a:pt x="10406" y="227"/>
                  </a:cubicBezTo>
                  <a:cubicBezTo>
                    <a:pt x="9991" y="2763"/>
                    <a:pt x="8674" y="3863"/>
                    <a:pt x="7936" y="3603"/>
                  </a:cubicBezTo>
                  <a:cubicBezTo>
                    <a:pt x="7441" y="3427"/>
                    <a:pt x="7550" y="2645"/>
                    <a:pt x="7761" y="2121"/>
                  </a:cubicBezTo>
                  <a:cubicBezTo>
                    <a:pt x="8003" y="1521"/>
                    <a:pt x="8495" y="1150"/>
                    <a:pt x="8696" y="1332"/>
                  </a:cubicBezTo>
                  <a:cubicBezTo>
                    <a:pt x="8910" y="1527"/>
                    <a:pt x="8567" y="2293"/>
                    <a:pt x="8034" y="2470"/>
                  </a:cubicBezTo>
                  <a:cubicBezTo>
                    <a:pt x="7904" y="2513"/>
                    <a:pt x="7890" y="2580"/>
                    <a:pt x="7904" y="2625"/>
                  </a:cubicBezTo>
                  <a:cubicBezTo>
                    <a:pt x="7924" y="2688"/>
                    <a:pt x="8020" y="2722"/>
                    <a:pt x="8147" y="2701"/>
                  </a:cubicBezTo>
                  <a:cubicBezTo>
                    <a:pt x="9272" y="2522"/>
                    <a:pt x="9854" y="1297"/>
                    <a:pt x="9351" y="8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grpSp>
        <p:nvGrpSpPr>
          <p:cNvPr id="41" name="Ryhmä 1">
            <a:extLst>
              <a:ext uri="{FF2B5EF4-FFF2-40B4-BE49-F238E27FC236}">
                <a16:creationId xmlns:a16="http://schemas.microsoft.com/office/drawing/2014/main" id="{E1946241-531E-5248-A43B-EA01D840F031}"/>
              </a:ext>
            </a:extLst>
          </p:cNvPr>
          <p:cNvGrpSpPr/>
          <p:nvPr userDrawn="1"/>
        </p:nvGrpSpPr>
        <p:grpSpPr>
          <a:xfrm>
            <a:off x="8128800" y="118800"/>
            <a:ext cx="871657" cy="870519"/>
            <a:chOff x="8127242" y="116975"/>
            <a:chExt cx="871657" cy="870519"/>
          </a:xfrm>
        </p:grpSpPr>
        <p:sp>
          <p:nvSpPr>
            <p:cNvPr id="42" name="Freeform 5">
              <a:extLst>
                <a:ext uri="{FF2B5EF4-FFF2-40B4-BE49-F238E27FC236}">
                  <a16:creationId xmlns:a16="http://schemas.microsoft.com/office/drawing/2014/main" id="{83FC62F4-5F16-864A-9743-B5FCA0BC3D6C}"/>
                </a:ext>
              </a:extLst>
            </p:cNvPr>
            <p:cNvSpPr>
              <a:spLocks/>
            </p:cNvSpPr>
            <p:nvPr/>
          </p:nvSpPr>
          <p:spPr bwMode="white">
            <a:xfrm>
              <a:off x="8128948" y="118681"/>
              <a:ext cx="868434" cy="867107"/>
            </a:xfrm>
            <a:custGeom>
              <a:avLst/>
              <a:gdLst>
                <a:gd name="T0" fmla="*/ 20157 w 20157"/>
                <a:gd name="T1" fmla="*/ 10078 h 20156"/>
                <a:gd name="T2" fmla="*/ 10079 w 20157"/>
                <a:gd name="T3" fmla="*/ 20156 h 20156"/>
                <a:gd name="T4" fmla="*/ 0 w 20157"/>
                <a:gd name="T5" fmla="*/ 10078 h 20156"/>
                <a:gd name="T6" fmla="*/ 10079 w 20157"/>
                <a:gd name="T7" fmla="*/ 0 h 20156"/>
                <a:gd name="T8" fmla="*/ 20157 w 20157"/>
                <a:gd name="T9" fmla="*/ 10078 h 20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157" h="20156">
                  <a:moveTo>
                    <a:pt x="20157" y="10078"/>
                  </a:moveTo>
                  <a:cubicBezTo>
                    <a:pt x="20157" y="15644"/>
                    <a:pt x="15644" y="20156"/>
                    <a:pt x="10079" y="20156"/>
                  </a:cubicBezTo>
                  <a:cubicBezTo>
                    <a:pt x="4512" y="20156"/>
                    <a:pt x="0" y="15644"/>
                    <a:pt x="0" y="10078"/>
                  </a:cubicBezTo>
                  <a:cubicBezTo>
                    <a:pt x="0" y="4512"/>
                    <a:pt x="4512" y="0"/>
                    <a:pt x="10079" y="0"/>
                  </a:cubicBezTo>
                  <a:cubicBezTo>
                    <a:pt x="15644" y="0"/>
                    <a:pt x="20157" y="4512"/>
                    <a:pt x="20157" y="100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43" name="Freeform 6">
              <a:extLst>
                <a:ext uri="{FF2B5EF4-FFF2-40B4-BE49-F238E27FC236}">
                  <a16:creationId xmlns:a16="http://schemas.microsoft.com/office/drawing/2014/main" id="{5CEFC13E-C064-364B-82CE-9BC6C9C42E74}"/>
                </a:ext>
              </a:extLst>
            </p:cNvPr>
            <p:cNvSpPr>
              <a:spLocks/>
            </p:cNvSpPr>
            <p:nvPr/>
          </p:nvSpPr>
          <p:spPr bwMode="black">
            <a:xfrm>
              <a:off x="8141460" y="131003"/>
              <a:ext cx="843411" cy="842462"/>
            </a:xfrm>
            <a:custGeom>
              <a:avLst/>
              <a:gdLst>
                <a:gd name="T0" fmla="*/ 19577 w 19577"/>
                <a:gd name="T1" fmla="*/ 9788 h 19576"/>
                <a:gd name="T2" fmla="*/ 9789 w 19577"/>
                <a:gd name="T3" fmla="*/ 19576 h 19576"/>
                <a:gd name="T4" fmla="*/ 0 w 19577"/>
                <a:gd name="T5" fmla="*/ 9788 h 19576"/>
                <a:gd name="T6" fmla="*/ 9789 w 19577"/>
                <a:gd name="T7" fmla="*/ 0 h 19576"/>
                <a:gd name="T8" fmla="*/ 19577 w 19577"/>
                <a:gd name="T9" fmla="*/ 9788 h 19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77" h="19576">
                  <a:moveTo>
                    <a:pt x="19577" y="9788"/>
                  </a:moveTo>
                  <a:cubicBezTo>
                    <a:pt x="19577" y="15194"/>
                    <a:pt x="15194" y="19576"/>
                    <a:pt x="9789" y="19576"/>
                  </a:cubicBezTo>
                  <a:cubicBezTo>
                    <a:pt x="4382" y="19576"/>
                    <a:pt x="0" y="15194"/>
                    <a:pt x="0" y="9788"/>
                  </a:cubicBezTo>
                  <a:cubicBezTo>
                    <a:pt x="0" y="4382"/>
                    <a:pt x="4382" y="0"/>
                    <a:pt x="9789" y="0"/>
                  </a:cubicBezTo>
                  <a:cubicBezTo>
                    <a:pt x="15194" y="0"/>
                    <a:pt x="19577" y="4382"/>
                    <a:pt x="19577" y="9788"/>
                  </a:cubicBezTo>
                  <a:close/>
                </a:path>
              </a:pathLst>
            </a:custGeom>
            <a:solidFill>
              <a:srgbClr val="1525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44" name="AutoShape 3">
              <a:extLst>
                <a:ext uri="{FF2B5EF4-FFF2-40B4-BE49-F238E27FC236}">
                  <a16:creationId xmlns:a16="http://schemas.microsoft.com/office/drawing/2014/main" id="{CA48A914-36D1-0B4F-A538-DB4D2CBE1D9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hidden">
            <a:xfrm>
              <a:off x="8127242" y="116975"/>
              <a:ext cx="871657" cy="8705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45" name="Freeform 7">
              <a:extLst>
                <a:ext uri="{FF2B5EF4-FFF2-40B4-BE49-F238E27FC236}">
                  <a16:creationId xmlns:a16="http://schemas.microsoft.com/office/drawing/2014/main" id="{7D74D0B7-6FEF-F64D-9B0F-84ABC94BE658}"/>
                </a:ext>
              </a:extLst>
            </p:cNvPr>
            <p:cNvSpPr>
              <a:spLocks/>
            </p:cNvSpPr>
            <p:nvPr/>
          </p:nvSpPr>
          <p:spPr bwMode="white">
            <a:xfrm>
              <a:off x="8363260" y="591666"/>
              <a:ext cx="475260" cy="293080"/>
            </a:xfrm>
            <a:custGeom>
              <a:avLst/>
              <a:gdLst>
                <a:gd name="T0" fmla="*/ 10290 w 11030"/>
                <a:gd name="T1" fmla="*/ 76 h 6809"/>
                <a:gd name="T2" fmla="*/ 10869 w 11030"/>
                <a:gd name="T3" fmla="*/ 1274 h 6809"/>
                <a:gd name="T4" fmla="*/ 149 w 11030"/>
                <a:gd name="T5" fmla="*/ 3905 h 6809"/>
                <a:gd name="T6" fmla="*/ 23 w 11030"/>
                <a:gd name="T7" fmla="*/ 3696 h 6809"/>
                <a:gd name="T8" fmla="*/ 201 w 11030"/>
                <a:gd name="T9" fmla="*/ 3719 h 6809"/>
                <a:gd name="T10" fmla="*/ 9259 w 11030"/>
                <a:gd name="T11" fmla="*/ 812 h 6809"/>
                <a:gd name="T12" fmla="*/ 10290 w 11030"/>
                <a:gd name="T13" fmla="*/ 76 h 6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030" h="6809">
                  <a:moveTo>
                    <a:pt x="10290" y="76"/>
                  </a:moveTo>
                  <a:cubicBezTo>
                    <a:pt x="10826" y="166"/>
                    <a:pt x="11030" y="749"/>
                    <a:pt x="10869" y="1274"/>
                  </a:cubicBezTo>
                  <a:cubicBezTo>
                    <a:pt x="9736" y="4966"/>
                    <a:pt x="3442" y="6809"/>
                    <a:pt x="149" y="3905"/>
                  </a:cubicBezTo>
                  <a:cubicBezTo>
                    <a:pt x="27" y="3798"/>
                    <a:pt x="0" y="3735"/>
                    <a:pt x="23" y="3696"/>
                  </a:cubicBezTo>
                  <a:cubicBezTo>
                    <a:pt x="37" y="3671"/>
                    <a:pt x="85" y="3640"/>
                    <a:pt x="201" y="3719"/>
                  </a:cubicBezTo>
                  <a:cubicBezTo>
                    <a:pt x="3791" y="6181"/>
                    <a:pt x="8235" y="3695"/>
                    <a:pt x="9259" y="812"/>
                  </a:cubicBezTo>
                  <a:cubicBezTo>
                    <a:pt x="9467" y="226"/>
                    <a:pt x="9832" y="0"/>
                    <a:pt x="10290" y="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46" name="Freeform 8">
              <a:extLst>
                <a:ext uri="{FF2B5EF4-FFF2-40B4-BE49-F238E27FC236}">
                  <a16:creationId xmlns:a16="http://schemas.microsoft.com/office/drawing/2014/main" id="{A274A143-EF14-4B4F-B2D3-3D486B1F44DC}"/>
                </a:ext>
              </a:extLst>
            </p:cNvPr>
            <p:cNvSpPr>
              <a:spLocks/>
            </p:cNvSpPr>
            <p:nvPr/>
          </p:nvSpPr>
          <p:spPr bwMode="white">
            <a:xfrm>
              <a:off x="8229611" y="270719"/>
              <a:ext cx="351468" cy="168341"/>
            </a:xfrm>
            <a:custGeom>
              <a:avLst/>
              <a:gdLst>
                <a:gd name="T0" fmla="*/ 58 w 8157"/>
                <a:gd name="T1" fmla="*/ 3881 h 3911"/>
                <a:gd name="T2" fmla="*/ 42 w 8157"/>
                <a:gd name="T3" fmla="*/ 3757 h 3911"/>
                <a:gd name="T4" fmla="*/ 7928 w 8157"/>
                <a:gd name="T5" fmla="*/ 315 h 3911"/>
                <a:gd name="T6" fmla="*/ 8123 w 8157"/>
                <a:gd name="T7" fmla="*/ 374 h 3911"/>
                <a:gd name="T8" fmla="*/ 212 w 8157"/>
                <a:gd name="T9" fmla="*/ 3827 h 3911"/>
                <a:gd name="T10" fmla="*/ 58 w 8157"/>
                <a:gd name="T11" fmla="*/ 3881 h 39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57" h="3911">
                  <a:moveTo>
                    <a:pt x="58" y="3881"/>
                  </a:moveTo>
                  <a:cubicBezTo>
                    <a:pt x="25" y="3858"/>
                    <a:pt x="0" y="3858"/>
                    <a:pt x="42" y="3757"/>
                  </a:cubicBezTo>
                  <a:cubicBezTo>
                    <a:pt x="1218" y="860"/>
                    <a:pt x="6681" y="2044"/>
                    <a:pt x="7928" y="315"/>
                  </a:cubicBezTo>
                  <a:cubicBezTo>
                    <a:pt x="8157" y="0"/>
                    <a:pt x="8155" y="244"/>
                    <a:pt x="8123" y="374"/>
                  </a:cubicBezTo>
                  <a:cubicBezTo>
                    <a:pt x="7331" y="3484"/>
                    <a:pt x="2144" y="1519"/>
                    <a:pt x="212" y="3827"/>
                  </a:cubicBezTo>
                  <a:cubicBezTo>
                    <a:pt x="171" y="3875"/>
                    <a:pt x="99" y="3911"/>
                    <a:pt x="58" y="38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47" name="Freeform 9">
              <a:extLst>
                <a:ext uri="{FF2B5EF4-FFF2-40B4-BE49-F238E27FC236}">
                  <a16:creationId xmlns:a16="http://schemas.microsoft.com/office/drawing/2014/main" id="{4F481132-D2D5-F444-8B9A-47F8406143EF}"/>
                </a:ext>
              </a:extLst>
            </p:cNvPr>
            <p:cNvSpPr>
              <a:spLocks/>
            </p:cNvSpPr>
            <p:nvPr/>
          </p:nvSpPr>
          <p:spPr bwMode="white">
            <a:xfrm>
              <a:off x="8237005" y="392425"/>
              <a:ext cx="157725" cy="368719"/>
            </a:xfrm>
            <a:custGeom>
              <a:avLst/>
              <a:gdLst>
                <a:gd name="T0" fmla="*/ 3645 w 3661"/>
                <a:gd name="T1" fmla="*/ 2724 h 8570"/>
                <a:gd name="T2" fmla="*/ 3288 w 3661"/>
                <a:gd name="T3" fmla="*/ 2624 h 8570"/>
                <a:gd name="T4" fmla="*/ 1665 w 3661"/>
                <a:gd name="T5" fmla="*/ 3390 h 8570"/>
                <a:gd name="T6" fmla="*/ 2367 w 3661"/>
                <a:gd name="T7" fmla="*/ 371 h 8570"/>
                <a:gd name="T8" fmla="*/ 809 w 3661"/>
                <a:gd name="T9" fmla="*/ 4293 h 8570"/>
                <a:gd name="T10" fmla="*/ 459 w 3661"/>
                <a:gd name="T11" fmla="*/ 8450 h 8570"/>
                <a:gd name="T12" fmla="*/ 1545 w 3661"/>
                <a:gd name="T13" fmla="*/ 4521 h 8570"/>
                <a:gd name="T14" fmla="*/ 3418 w 3661"/>
                <a:gd name="T15" fmla="*/ 3003 h 8570"/>
                <a:gd name="T16" fmla="*/ 3645 w 3661"/>
                <a:gd name="T17" fmla="*/ 2724 h 8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61" h="8570">
                  <a:moveTo>
                    <a:pt x="3645" y="2724"/>
                  </a:moveTo>
                  <a:cubicBezTo>
                    <a:pt x="3618" y="2614"/>
                    <a:pt x="3485" y="2592"/>
                    <a:pt x="3288" y="2624"/>
                  </a:cubicBezTo>
                  <a:cubicBezTo>
                    <a:pt x="3077" y="2657"/>
                    <a:pt x="2521" y="2753"/>
                    <a:pt x="1665" y="3390"/>
                  </a:cubicBezTo>
                  <a:cubicBezTo>
                    <a:pt x="1956" y="960"/>
                    <a:pt x="2385" y="513"/>
                    <a:pt x="2367" y="371"/>
                  </a:cubicBezTo>
                  <a:cubicBezTo>
                    <a:pt x="2325" y="33"/>
                    <a:pt x="1437" y="0"/>
                    <a:pt x="809" y="4293"/>
                  </a:cubicBezTo>
                  <a:cubicBezTo>
                    <a:pt x="163" y="5873"/>
                    <a:pt x="0" y="8356"/>
                    <a:pt x="459" y="8450"/>
                  </a:cubicBezTo>
                  <a:cubicBezTo>
                    <a:pt x="1053" y="8570"/>
                    <a:pt x="1323" y="6323"/>
                    <a:pt x="1545" y="4521"/>
                  </a:cubicBezTo>
                  <a:cubicBezTo>
                    <a:pt x="1994" y="3733"/>
                    <a:pt x="2950" y="3228"/>
                    <a:pt x="3418" y="3003"/>
                  </a:cubicBezTo>
                  <a:cubicBezTo>
                    <a:pt x="3629" y="2901"/>
                    <a:pt x="3661" y="2790"/>
                    <a:pt x="3645" y="27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48" name="Freeform 10">
              <a:extLst>
                <a:ext uri="{FF2B5EF4-FFF2-40B4-BE49-F238E27FC236}">
                  <a16:creationId xmlns:a16="http://schemas.microsoft.com/office/drawing/2014/main" id="{E7D4051D-8520-0841-AB05-88FF9534D9F4}"/>
                </a:ext>
              </a:extLst>
            </p:cNvPr>
            <p:cNvSpPr>
              <a:spLocks/>
            </p:cNvSpPr>
            <p:nvPr/>
          </p:nvSpPr>
          <p:spPr bwMode="white">
            <a:xfrm>
              <a:off x="8377858" y="385789"/>
              <a:ext cx="542179" cy="262179"/>
            </a:xfrm>
            <a:custGeom>
              <a:avLst/>
              <a:gdLst>
                <a:gd name="T0" fmla="*/ 9351 w 12588"/>
                <a:gd name="T1" fmla="*/ 848 h 6096"/>
                <a:gd name="T2" fmla="*/ 6832 w 12588"/>
                <a:gd name="T3" fmla="*/ 3597 h 6096"/>
                <a:gd name="T4" fmla="*/ 6312 w 12588"/>
                <a:gd name="T5" fmla="*/ 4119 h 6096"/>
                <a:gd name="T6" fmla="*/ 4932 w 12588"/>
                <a:gd name="T7" fmla="*/ 3977 h 6096"/>
                <a:gd name="T8" fmla="*/ 6629 w 12588"/>
                <a:gd name="T9" fmla="*/ 1522 h 6096"/>
                <a:gd name="T10" fmla="*/ 6177 w 12588"/>
                <a:gd name="T11" fmla="*/ 1412 h 6096"/>
                <a:gd name="T12" fmla="*/ 4067 w 12588"/>
                <a:gd name="T13" fmla="*/ 1880 h 6096"/>
                <a:gd name="T14" fmla="*/ 3698 w 12588"/>
                <a:gd name="T15" fmla="*/ 1683 h 6096"/>
                <a:gd name="T16" fmla="*/ 3750 w 12588"/>
                <a:gd name="T17" fmla="*/ 1975 h 6096"/>
                <a:gd name="T18" fmla="*/ 2721 w 12588"/>
                <a:gd name="T19" fmla="*/ 4588 h 6096"/>
                <a:gd name="T20" fmla="*/ 2637 w 12588"/>
                <a:gd name="T21" fmla="*/ 3938 h 6096"/>
                <a:gd name="T22" fmla="*/ 2789 w 12588"/>
                <a:gd name="T23" fmla="*/ 3312 h 6096"/>
                <a:gd name="T24" fmla="*/ 2344 w 12588"/>
                <a:gd name="T25" fmla="*/ 3180 h 6096"/>
                <a:gd name="T26" fmla="*/ 1897 w 12588"/>
                <a:gd name="T27" fmla="*/ 4130 h 6096"/>
                <a:gd name="T28" fmla="*/ 1117 w 12588"/>
                <a:gd name="T29" fmla="*/ 4803 h 6096"/>
                <a:gd name="T30" fmla="*/ 1390 w 12588"/>
                <a:gd name="T31" fmla="*/ 3389 h 6096"/>
                <a:gd name="T32" fmla="*/ 2263 w 12588"/>
                <a:gd name="T33" fmla="*/ 2652 h 6096"/>
                <a:gd name="T34" fmla="*/ 2701 w 12588"/>
                <a:gd name="T35" fmla="*/ 2779 h 6096"/>
                <a:gd name="T36" fmla="*/ 2504 w 12588"/>
                <a:gd name="T37" fmla="*/ 2281 h 6096"/>
                <a:gd name="T38" fmla="*/ 569 w 12588"/>
                <a:gd name="T39" fmla="*/ 3564 h 6096"/>
                <a:gd name="T40" fmla="*/ 546 w 12588"/>
                <a:gd name="T41" fmla="*/ 5934 h 6096"/>
                <a:gd name="T42" fmla="*/ 1841 w 12588"/>
                <a:gd name="T43" fmla="*/ 4848 h 6096"/>
                <a:gd name="T44" fmla="*/ 2281 w 12588"/>
                <a:gd name="T45" fmla="*/ 5566 h 6096"/>
                <a:gd name="T46" fmla="*/ 4028 w 12588"/>
                <a:gd name="T47" fmla="*/ 2206 h 6096"/>
                <a:gd name="T48" fmla="*/ 6038 w 12588"/>
                <a:gd name="T49" fmla="*/ 2093 h 6096"/>
                <a:gd name="T50" fmla="*/ 3818 w 12588"/>
                <a:gd name="T51" fmla="*/ 4451 h 6096"/>
                <a:gd name="T52" fmla="*/ 3662 w 12588"/>
                <a:gd name="T53" fmla="*/ 5160 h 6096"/>
                <a:gd name="T54" fmla="*/ 4046 w 12588"/>
                <a:gd name="T55" fmla="*/ 4979 h 6096"/>
                <a:gd name="T56" fmla="*/ 5541 w 12588"/>
                <a:gd name="T57" fmla="*/ 4709 h 6096"/>
                <a:gd name="T58" fmla="*/ 6943 w 12588"/>
                <a:gd name="T59" fmla="*/ 3936 h 6096"/>
                <a:gd name="T60" fmla="*/ 7813 w 12588"/>
                <a:gd name="T61" fmla="*/ 4314 h 6096"/>
                <a:gd name="T62" fmla="*/ 10525 w 12588"/>
                <a:gd name="T63" fmla="*/ 1055 h 6096"/>
                <a:gd name="T64" fmla="*/ 10657 w 12588"/>
                <a:gd name="T65" fmla="*/ 2235 h 6096"/>
                <a:gd name="T66" fmla="*/ 10909 w 12588"/>
                <a:gd name="T67" fmla="*/ 3539 h 6096"/>
                <a:gd name="T68" fmla="*/ 12581 w 12588"/>
                <a:gd name="T69" fmla="*/ 1902 h 6096"/>
                <a:gd name="T70" fmla="*/ 12517 w 12588"/>
                <a:gd name="T71" fmla="*/ 1701 h 6096"/>
                <a:gd name="T72" fmla="*/ 12386 w 12588"/>
                <a:gd name="T73" fmla="*/ 1812 h 6096"/>
                <a:gd name="T74" fmla="*/ 11500 w 12588"/>
                <a:gd name="T75" fmla="*/ 2750 h 6096"/>
                <a:gd name="T76" fmla="*/ 11387 w 12588"/>
                <a:gd name="T77" fmla="*/ 1219 h 6096"/>
                <a:gd name="T78" fmla="*/ 10665 w 12588"/>
                <a:gd name="T79" fmla="*/ 468 h 6096"/>
                <a:gd name="T80" fmla="*/ 10406 w 12588"/>
                <a:gd name="T81" fmla="*/ 227 h 6096"/>
                <a:gd name="T82" fmla="*/ 7936 w 12588"/>
                <a:gd name="T83" fmla="*/ 3603 h 6096"/>
                <a:gd name="T84" fmla="*/ 7761 w 12588"/>
                <a:gd name="T85" fmla="*/ 2121 h 6096"/>
                <a:gd name="T86" fmla="*/ 8696 w 12588"/>
                <a:gd name="T87" fmla="*/ 1332 h 6096"/>
                <a:gd name="T88" fmla="*/ 8034 w 12588"/>
                <a:gd name="T89" fmla="*/ 2470 h 6096"/>
                <a:gd name="T90" fmla="*/ 7904 w 12588"/>
                <a:gd name="T91" fmla="*/ 2625 h 6096"/>
                <a:gd name="T92" fmla="*/ 8147 w 12588"/>
                <a:gd name="T93" fmla="*/ 2701 h 6096"/>
                <a:gd name="T94" fmla="*/ 9351 w 12588"/>
                <a:gd name="T95" fmla="*/ 848 h 6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588" h="6096">
                  <a:moveTo>
                    <a:pt x="9351" y="848"/>
                  </a:moveTo>
                  <a:cubicBezTo>
                    <a:pt x="8431" y="28"/>
                    <a:pt x="6483" y="1805"/>
                    <a:pt x="6832" y="3597"/>
                  </a:cubicBezTo>
                  <a:cubicBezTo>
                    <a:pt x="6688" y="3993"/>
                    <a:pt x="6454" y="4101"/>
                    <a:pt x="6312" y="4119"/>
                  </a:cubicBezTo>
                  <a:cubicBezTo>
                    <a:pt x="5923" y="4168"/>
                    <a:pt x="5666" y="3742"/>
                    <a:pt x="4932" y="3977"/>
                  </a:cubicBezTo>
                  <a:cubicBezTo>
                    <a:pt x="5824" y="2907"/>
                    <a:pt x="6987" y="2091"/>
                    <a:pt x="6629" y="1522"/>
                  </a:cubicBezTo>
                  <a:cubicBezTo>
                    <a:pt x="6517" y="1344"/>
                    <a:pt x="6419" y="1292"/>
                    <a:pt x="6177" y="1412"/>
                  </a:cubicBezTo>
                  <a:cubicBezTo>
                    <a:pt x="5381" y="1804"/>
                    <a:pt x="4341" y="2073"/>
                    <a:pt x="4067" y="1880"/>
                  </a:cubicBezTo>
                  <a:cubicBezTo>
                    <a:pt x="4005" y="1625"/>
                    <a:pt x="3772" y="1584"/>
                    <a:pt x="3698" y="1683"/>
                  </a:cubicBezTo>
                  <a:cubicBezTo>
                    <a:pt x="3633" y="1768"/>
                    <a:pt x="3684" y="1882"/>
                    <a:pt x="3750" y="1975"/>
                  </a:cubicBezTo>
                  <a:cubicBezTo>
                    <a:pt x="3727" y="3144"/>
                    <a:pt x="3048" y="4671"/>
                    <a:pt x="2721" y="4588"/>
                  </a:cubicBezTo>
                  <a:cubicBezTo>
                    <a:pt x="2558" y="4545"/>
                    <a:pt x="2596" y="4242"/>
                    <a:pt x="2637" y="3938"/>
                  </a:cubicBezTo>
                  <a:cubicBezTo>
                    <a:pt x="2671" y="3682"/>
                    <a:pt x="2767" y="3400"/>
                    <a:pt x="2789" y="3312"/>
                  </a:cubicBezTo>
                  <a:cubicBezTo>
                    <a:pt x="2870" y="2989"/>
                    <a:pt x="2471" y="2934"/>
                    <a:pt x="2344" y="3180"/>
                  </a:cubicBezTo>
                  <a:cubicBezTo>
                    <a:pt x="2191" y="3477"/>
                    <a:pt x="2072" y="3844"/>
                    <a:pt x="1897" y="4130"/>
                  </a:cubicBezTo>
                  <a:cubicBezTo>
                    <a:pt x="1628" y="4577"/>
                    <a:pt x="1350" y="4905"/>
                    <a:pt x="1117" y="4803"/>
                  </a:cubicBezTo>
                  <a:cubicBezTo>
                    <a:pt x="846" y="4685"/>
                    <a:pt x="1007" y="4004"/>
                    <a:pt x="1390" y="3389"/>
                  </a:cubicBezTo>
                  <a:cubicBezTo>
                    <a:pt x="1743" y="2823"/>
                    <a:pt x="2071" y="2662"/>
                    <a:pt x="2263" y="2652"/>
                  </a:cubicBezTo>
                  <a:cubicBezTo>
                    <a:pt x="2518" y="2638"/>
                    <a:pt x="2582" y="2823"/>
                    <a:pt x="2701" y="2779"/>
                  </a:cubicBezTo>
                  <a:cubicBezTo>
                    <a:pt x="2839" y="2730"/>
                    <a:pt x="2823" y="2412"/>
                    <a:pt x="2504" y="2281"/>
                  </a:cubicBezTo>
                  <a:cubicBezTo>
                    <a:pt x="1917" y="2041"/>
                    <a:pt x="1009" y="2690"/>
                    <a:pt x="569" y="3564"/>
                  </a:cubicBezTo>
                  <a:cubicBezTo>
                    <a:pt x="92" y="4512"/>
                    <a:pt x="0" y="5743"/>
                    <a:pt x="546" y="5934"/>
                  </a:cubicBezTo>
                  <a:cubicBezTo>
                    <a:pt x="1003" y="6096"/>
                    <a:pt x="1605" y="5357"/>
                    <a:pt x="1841" y="4848"/>
                  </a:cubicBezTo>
                  <a:cubicBezTo>
                    <a:pt x="1854" y="5120"/>
                    <a:pt x="1924" y="5511"/>
                    <a:pt x="2281" y="5566"/>
                  </a:cubicBezTo>
                  <a:cubicBezTo>
                    <a:pt x="2940" y="5669"/>
                    <a:pt x="3948" y="3725"/>
                    <a:pt x="4028" y="2206"/>
                  </a:cubicBezTo>
                  <a:cubicBezTo>
                    <a:pt x="4324" y="2445"/>
                    <a:pt x="5357" y="2398"/>
                    <a:pt x="6038" y="2093"/>
                  </a:cubicBezTo>
                  <a:cubicBezTo>
                    <a:pt x="5460" y="2764"/>
                    <a:pt x="4062" y="4098"/>
                    <a:pt x="3818" y="4451"/>
                  </a:cubicBezTo>
                  <a:cubicBezTo>
                    <a:pt x="3574" y="4804"/>
                    <a:pt x="3476" y="5028"/>
                    <a:pt x="3662" y="5160"/>
                  </a:cubicBezTo>
                  <a:cubicBezTo>
                    <a:pt x="3803" y="5260"/>
                    <a:pt x="3897" y="5125"/>
                    <a:pt x="4046" y="4979"/>
                  </a:cubicBezTo>
                  <a:cubicBezTo>
                    <a:pt x="4730" y="4311"/>
                    <a:pt x="5043" y="4637"/>
                    <a:pt x="5541" y="4709"/>
                  </a:cubicBezTo>
                  <a:cubicBezTo>
                    <a:pt x="5936" y="4767"/>
                    <a:pt x="6607" y="4679"/>
                    <a:pt x="6943" y="3936"/>
                  </a:cubicBezTo>
                  <a:cubicBezTo>
                    <a:pt x="7154" y="4219"/>
                    <a:pt x="7519" y="4308"/>
                    <a:pt x="7813" y="4314"/>
                  </a:cubicBezTo>
                  <a:cubicBezTo>
                    <a:pt x="8924" y="4331"/>
                    <a:pt x="10162" y="2804"/>
                    <a:pt x="10525" y="1055"/>
                  </a:cubicBezTo>
                  <a:cubicBezTo>
                    <a:pt x="10945" y="1254"/>
                    <a:pt x="10774" y="1724"/>
                    <a:pt x="10657" y="2235"/>
                  </a:cubicBezTo>
                  <a:cubicBezTo>
                    <a:pt x="10525" y="2807"/>
                    <a:pt x="10550" y="3368"/>
                    <a:pt x="10909" y="3539"/>
                  </a:cubicBezTo>
                  <a:cubicBezTo>
                    <a:pt x="11724" y="3927"/>
                    <a:pt x="12533" y="2542"/>
                    <a:pt x="12581" y="1902"/>
                  </a:cubicBezTo>
                  <a:cubicBezTo>
                    <a:pt x="12588" y="1797"/>
                    <a:pt x="12564" y="1717"/>
                    <a:pt x="12517" y="1701"/>
                  </a:cubicBezTo>
                  <a:cubicBezTo>
                    <a:pt x="12463" y="1681"/>
                    <a:pt x="12414" y="1730"/>
                    <a:pt x="12386" y="1812"/>
                  </a:cubicBezTo>
                  <a:cubicBezTo>
                    <a:pt x="12244" y="2240"/>
                    <a:pt x="11822" y="2840"/>
                    <a:pt x="11500" y="2750"/>
                  </a:cubicBezTo>
                  <a:cubicBezTo>
                    <a:pt x="11097" y="2638"/>
                    <a:pt x="11484" y="1762"/>
                    <a:pt x="11387" y="1219"/>
                  </a:cubicBezTo>
                  <a:cubicBezTo>
                    <a:pt x="11311" y="800"/>
                    <a:pt x="10894" y="652"/>
                    <a:pt x="10665" y="468"/>
                  </a:cubicBezTo>
                  <a:cubicBezTo>
                    <a:pt x="10668" y="91"/>
                    <a:pt x="10444" y="0"/>
                    <a:pt x="10406" y="227"/>
                  </a:cubicBezTo>
                  <a:cubicBezTo>
                    <a:pt x="9991" y="2763"/>
                    <a:pt x="8674" y="3863"/>
                    <a:pt x="7936" y="3603"/>
                  </a:cubicBezTo>
                  <a:cubicBezTo>
                    <a:pt x="7441" y="3427"/>
                    <a:pt x="7550" y="2645"/>
                    <a:pt x="7761" y="2121"/>
                  </a:cubicBezTo>
                  <a:cubicBezTo>
                    <a:pt x="8003" y="1521"/>
                    <a:pt x="8495" y="1150"/>
                    <a:pt x="8696" y="1332"/>
                  </a:cubicBezTo>
                  <a:cubicBezTo>
                    <a:pt x="8910" y="1527"/>
                    <a:pt x="8567" y="2293"/>
                    <a:pt x="8034" y="2470"/>
                  </a:cubicBezTo>
                  <a:cubicBezTo>
                    <a:pt x="7904" y="2513"/>
                    <a:pt x="7890" y="2580"/>
                    <a:pt x="7904" y="2625"/>
                  </a:cubicBezTo>
                  <a:cubicBezTo>
                    <a:pt x="7924" y="2688"/>
                    <a:pt x="8020" y="2722"/>
                    <a:pt x="8147" y="2701"/>
                  </a:cubicBezTo>
                  <a:cubicBezTo>
                    <a:pt x="9272" y="2522"/>
                    <a:pt x="9854" y="1297"/>
                    <a:pt x="9351" y="8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353970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Jus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5.6.2024</a:t>
            </a:fld>
            <a:endParaRPr lang="fi-FI" dirty="0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 dirty="0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81175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äivämäärän paikkamerkki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5.6.2024</a:t>
            </a:fld>
            <a:endParaRPr lang="fi-FI" dirty="0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 dirty="0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564373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432000" y="1221583"/>
            <a:ext cx="3851968" cy="270272"/>
          </a:xfrm>
          <a:prstGeom prst="rect">
            <a:avLst/>
          </a:prstGeom>
        </p:spPr>
        <p:txBody>
          <a:bodyPr anchor="t" anchorCtr="0"/>
          <a:lstStyle>
            <a:lvl1pPr marL="0" indent="0">
              <a:buNone/>
              <a:defRPr sz="2000" b="0">
                <a:solidFill>
                  <a:schemeClr val="accent2"/>
                </a:solidFill>
              </a:defRPr>
            </a:lvl1pPr>
            <a:lvl2pPr marL="389582" indent="0">
              <a:buNone/>
              <a:defRPr sz="1700" b="1"/>
            </a:lvl2pPr>
            <a:lvl3pPr marL="779163" indent="0">
              <a:buNone/>
              <a:defRPr sz="1500" b="1"/>
            </a:lvl3pPr>
            <a:lvl4pPr marL="1168745" indent="0">
              <a:buNone/>
              <a:defRPr sz="1400" b="1"/>
            </a:lvl4pPr>
            <a:lvl5pPr marL="1558326" indent="0">
              <a:buNone/>
              <a:defRPr sz="1400" b="1"/>
            </a:lvl5pPr>
            <a:lvl6pPr marL="1947908" indent="0">
              <a:buNone/>
              <a:defRPr sz="1400" b="1"/>
            </a:lvl6pPr>
            <a:lvl7pPr marL="2337489" indent="0">
              <a:buNone/>
              <a:defRPr sz="1400" b="1"/>
            </a:lvl7pPr>
            <a:lvl8pPr marL="2727071" indent="0">
              <a:buNone/>
              <a:defRPr sz="1400" b="1"/>
            </a:lvl8pPr>
            <a:lvl9pPr marL="3116652" indent="0">
              <a:buNone/>
              <a:defRPr sz="14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kstin paikkamerkki 4"/>
          <p:cNvSpPr>
            <a:spLocks noGrp="1"/>
          </p:cNvSpPr>
          <p:nvPr>
            <p:ph type="body" sz="quarter" idx="3"/>
          </p:nvPr>
        </p:nvSpPr>
        <p:spPr>
          <a:xfrm>
            <a:off x="4572000" y="1221583"/>
            <a:ext cx="4355999" cy="270272"/>
          </a:xfrm>
          <a:prstGeom prst="rect">
            <a:avLst/>
          </a:prstGeom>
        </p:spPr>
        <p:txBody>
          <a:bodyPr anchor="t" anchorCtr="0"/>
          <a:lstStyle>
            <a:lvl1pPr marL="0" indent="0">
              <a:buNone/>
              <a:defRPr sz="2000" b="0">
                <a:solidFill>
                  <a:schemeClr val="accent2"/>
                </a:solidFill>
              </a:defRPr>
            </a:lvl1pPr>
            <a:lvl2pPr marL="389582" indent="0">
              <a:buNone/>
              <a:defRPr sz="1700" b="1"/>
            </a:lvl2pPr>
            <a:lvl3pPr marL="779163" indent="0">
              <a:buNone/>
              <a:defRPr sz="1500" b="1"/>
            </a:lvl3pPr>
            <a:lvl4pPr marL="1168745" indent="0">
              <a:buNone/>
              <a:defRPr sz="1400" b="1"/>
            </a:lvl4pPr>
            <a:lvl5pPr marL="1558326" indent="0">
              <a:buNone/>
              <a:defRPr sz="1400" b="1"/>
            </a:lvl5pPr>
            <a:lvl6pPr marL="1947908" indent="0">
              <a:buNone/>
              <a:defRPr sz="1400" b="1"/>
            </a:lvl6pPr>
            <a:lvl7pPr marL="2337489" indent="0">
              <a:buNone/>
              <a:defRPr sz="1400" b="1"/>
            </a:lvl7pPr>
            <a:lvl8pPr marL="2727071" indent="0">
              <a:buNone/>
              <a:defRPr sz="1400" b="1"/>
            </a:lvl8pPr>
            <a:lvl9pPr marL="3116652" indent="0">
              <a:buNone/>
              <a:defRPr sz="14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8"/>
          <p:cNvSpPr>
            <a:spLocks noGrp="1"/>
          </p:cNvSpPr>
          <p:nvPr>
            <p:ph sz="quarter" idx="13"/>
          </p:nvPr>
        </p:nvSpPr>
        <p:spPr>
          <a:xfrm>
            <a:off x="432001" y="1563638"/>
            <a:ext cx="3851967" cy="3132534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4pPr>
              <a:defRPr sz="12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12" name="Content Placeholder 10"/>
          <p:cNvSpPr>
            <a:spLocks noGrp="1"/>
          </p:cNvSpPr>
          <p:nvPr>
            <p:ph sz="quarter" idx="14"/>
          </p:nvPr>
        </p:nvSpPr>
        <p:spPr>
          <a:xfrm>
            <a:off x="4572000" y="1563638"/>
            <a:ext cx="4355999" cy="3132534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5.6.2024</a:t>
            </a:fld>
            <a:endParaRPr lang="fi-FI" dirty="0"/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 dirty="0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819151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4572000" y="1221583"/>
            <a:ext cx="4355999" cy="340280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sv-SE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 hasCustomPrompt="1"/>
          </p:nvPr>
        </p:nvSpPr>
        <p:spPr>
          <a:xfrm>
            <a:off x="432000" y="1221583"/>
            <a:ext cx="3923976" cy="3402806"/>
          </a:xfrm>
        </p:spPr>
        <p:txBody>
          <a:bodyPr>
            <a:normAutofit/>
          </a:bodyPr>
          <a:lstStyle>
            <a:lvl4pPr>
              <a:defRPr sz="1200"/>
            </a:lvl4pPr>
            <a:lvl5pPr>
              <a:defRPr sz="10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5.6.2024</a:t>
            </a:fld>
            <a:endParaRPr lang="fi-FI" dirty="0"/>
          </a:p>
        </p:txBody>
      </p:sp>
      <p:sp>
        <p:nvSpPr>
          <p:cNvPr id="7" name="Alatunnisteen paikkamerkki 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 dirty="0"/>
          </a:p>
        </p:txBody>
      </p:sp>
      <p:sp>
        <p:nvSpPr>
          <p:cNvPr id="10" name="Dian numeron paikkamerkki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950243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picture th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6641999" y="1221583"/>
            <a:ext cx="2286000" cy="340280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sv-SE" dirty="0"/>
          </a:p>
        </p:txBody>
      </p:sp>
      <p:sp>
        <p:nvSpPr>
          <p:cNvPr id="7" name="Content Placeholder 8"/>
          <p:cNvSpPr>
            <a:spLocks noGrp="1"/>
          </p:cNvSpPr>
          <p:nvPr>
            <p:ph sz="quarter" idx="14"/>
          </p:nvPr>
        </p:nvSpPr>
        <p:spPr>
          <a:xfrm>
            <a:off x="432000" y="1221583"/>
            <a:ext cx="5940200" cy="3402806"/>
          </a:xfrm>
        </p:spPr>
        <p:txBody>
          <a:bodyPr>
            <a:normAutofit/>
          </a:bodyPr>
          <a:lstStyle>
            <a:lvl4pPr>
              <a:defRPr sz="12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8" name="Päivämäärän paikkamerkki 7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5.6.2024</a:t>
            </a:fld>
            <a:endParaRPr lang="fi-FI" dirty="0"/>
          </a:p>
        </p:txBody>
      </p:sp>
      <p:sp>
        <p:nvSpPr>
          <p:cNvPr id="9" name="Alatunnisteen paikkamerkki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 dirty="0"/>
          </a:p>
        </p:txBody>
      </p:sp>
      <p:sp>
        <p:nvSpPr>
          <p:cNvPr id="10" name="Dian numeron paikkamerkki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417722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6804248" y="3003811"/>
            <a:ext cx="2123751" cy="162057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sv-SE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4572000" y="1221583"/>
            <a:ext cx="4356000" cy="16742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sv-SE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15"/>
          </p:nvPr>
        </p:nvSpPr>
        <p:spPr>
          <a:xfrm>
            <a:off x="4572000" y="3003811"/>
            <a:ext cx="2124000" cy="162057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sv-SE" dirty="0"/>
          </a:p>
        </p:txBody>
      </p:sp>
      <p:sp>
        <p:nvSpPr>
          <p:cNvPr id="11" name="Content Placeholder 8"/>
          <p:cNvSpPr>
            <a:spLocks noGrp="1"/>
          </p:cNvSpPr>
          <p:nvPr>
            <p:ph sz="quarter" idx="16"/>
          </p:nvPr>
        </p:nvSpPr>
        <p:spPr>
          <a:xfrm>
            <a:off x="432001" y="1221583"/>
            <a:ext cx="3851967" cy="3402806"/>
          </a:xfrm>
        </p:spPr>
        <p:txBody>
          <a:bodyPr>
            <a:normAutofit/>
          </a:bodyPr>
          <a:lstStyle>
            <a:lvl4pPr>
              <a:defRPr sz="12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5.6.2024</a:t>
            </a:fld>
            <a:endParaRPr lang="fi-FI" dirty="0"/>
          </a:p>
        </p:txBody>
      </p:sp>
      <p:sp>
        <p:nvSpPr>
          <p:cNvPr id="7" name="Alatunnisteen paikkamerkki 6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 dirty="0"/>
          </a:p>
        </p:txBody>
      </p:sp>
      <p:sp>
        <p:nvSpPr>
          <p:cNvPr id="12" name="Dian numeron paikkamerkki 11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035712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426072" y="1221583"/>
            <a:ext cx="8280000" cy="340280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sv-SE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2" name="Päivämäärän paikkamerkki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5.6.2024</a:t>
            </a:fld>
            <a:endParaRPr lang="fi-FI" dirty="0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 dirty="0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199213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edia Placeholder 3"/>
          <p:cNvSpPr>
            <a:spLocks noGrp="1"/>
          </p:cNvSpPr>
          <p:nvPr>
            <p:ph type="media" sz="quarter" idx="13"/>
          </p:nvPr>
        </p:nvSpPr>
        <p:spPr>
          <a:xfrm>
            <a:off x="215998" y="195486"/>
            <a:ext cx="8712001" cy="453650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media</a:t>
            </a:r>
            <a:endParaRPr lang="fi-FI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5.6.2024</a:t>
            </a:fld>
            <a:endParaRPr lang="fi-FI" dirty="0"/>
          </a:p>
        </p:txBody>
      </p:sp>
      <p:sp>
        <p:nvSpPr>
          <p:cNvPr id="7" name="Alatunnisteen paikkamerkki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 dirty="0"/>
          </a:p>
        </p:txBody>
      </p:sp>
      <p:sp>
        <p:nvSpPr>
          <p:cNvPr id="8" name="Dian numeron paikkamerkki 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623801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Warm heading &amp; Warm bullet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9"/>
          <p:cNvSpPr>
            <a:spLocks noGrp="1"/>
          </p:cNvSpPr>
          <p:nvPr>
            <p:ph sz="quarter" idx="13"/>
          </p:nvPr>
        </p:nvSpPr>
        <p:spPr>
          <a:xfrm>
            <a:off x="432000" y="1116000"/>
            <a:ext cx="7553553" cy="3600000"/>
          </a:xfrm>
        </p:spPr>
        <p:txBody>
          <a:bodyPr>
            <a:normAutofit/>
          </a:bodyPr>
          <a:lstStyle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Päivämäärän paikkamerkki 9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5.6.2024</a:t>
            </a:fld>
            <a:endParaRPr lang="fi-FI" dirty="0"/>
          </a:p>
        </p:txBody>
      </p:sp>
      <p:sp>
        <p:nvSpPr>
          <p:cNvPr id="11" name="Alatunnisteen paikkamerkki 10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 dirty="0"/>
          </a:p>
        </p:txBody>
      </p:sp>
      <p:sp>
        <p:nvSpPr>
          <p:cNvPr id="12" name="Dian numeron paikkamerkki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7596189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Final slid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68DFC261-3E2E-854D-B29B-F7808AA9C5CD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87" y="0"/>
            <a:ext cx="9139277" cy="51435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149B40DA-97D2-F841-8483-08297773C3D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87" y="0"/>
            <a:ext cx="9139277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8869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436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553846" y="214296"/>
            <a:ext cx="8048553" cy="486000"/>
          </a:xfrm>
        </p:spPr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546890" y="864000"/>
            <a:ext cx="8048553" cy="3375000"/>
          </a:xfrm>
        </p:spPr>
        <p:txBody>
          <a:bodyPr/>
          <a:lstStyle>
            <a:lvl1pPr marL="135731" indent="-135731">
              <a:lnSpc>
                <a:spcPct val="100000"/>
              </a:lnSpc>
              <a:spcBef>
                <a:spcPts val="450"/>
              </a:spcBef>
              <a:defRPr/>
            </a:lvl1pPr>
            <a:lvl2pPr marL="405000" indent="-135000">
              <a:defRPr/>
            </a:lvl2pPr>
            <a:lvl3pPr marL="405000" indent="-135000">
              <a:lnSpc>
                <a:spcPct val="100000"/>
              </a:lnSpc>
              <a:spcBef>
                <a:spcPts val="450"/>
              </a:spcBef>
              <a:buFont typeface="Times New Roman" pitchFamily="18" charset="0"/>
              <a:buChar char="-"/>
              <a:defRPr sz="1350"/>
            </a:lvl3pPr>
            <a:lvl4pPr marL="675000" indent="-135000">
              <a:lnSpc>
                <a:spcPct val="100000"/>
              </a:lnSpc>
              <a:spcBef>
                <a:spcPts val="450"/>
              </a:spcBef>
              <a:buFont typeface="Times New Roman" pitchFamily="18" charset="0"/>
              <a:buChar char="-"/>
              <a:defRPr sz="1350">
                <a:latin typeface="ITC Highlander Std Book" pitchFamily="50" charset="0"/>
              </a:defRPr>
            </a:lvl4pPr>
            <a:lvl5pPr>
              <a:buNone/>
              <a:defRPr/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</p:spTree>
    <p:extLst>
      <p:ext uri="{BB962C8B-B14F-4D97-AF65-F5344CB8AC3E}">
        <p14:creationId xmlns:p14="http://schemas.microsoft.com/office/powerpoint/2010/main" val="13228424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Warm heading &amp; Blue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432000" y="1116000"/>
            <a:ext cx="7553553" cy="3600000"/>
          </a:xfrm>
        </p:spPr>
        <p:txBody>
          <a:bodyPr>
            <a:normAutofit/>
          </a:bodyPr>
          <a:lstStyle>
            <a:lvl1pPr>
              <a:buClr>
                <a:schemeClr val="tx1"/>
              </a:buClr>
              <a:defRPr/>
            </a:lvl1pPr>
            <a:lvl2pPr>
              <a:buClr>
                <a:schemeClr val="tx1"/>
              </a:buClr>
              <a:defRPr/>
            </a:lvl2pPr>
            <a:lvl3pPr>
              <a:buClr>
                <a:schemeClr val="tx1"/>
              </a:buClr>
              <a:defRPr/>
            </a:lvl3pPr>
            <a:lvl4pPr>
              <a:buClr>
                <a:schemeClr val="tx1"/>
              </a:buClr>
              <a:defRPr sz="1400"/>
            </a:lvl4pPr>
            <a:lvl5pPr>
              <a:buClr>
                <a:schemeClr val="tx1"/>
              </a:buCl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Päivämäärän paikkamerkki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5.6.2024</a:t>
            </a:fld>
            <a:endParaRPr lang="fi-FI" dirty="0"/>
          </a:p>
        </p:txBody>
      </p:sp>
      <p:sp>
        <p:nvSpPr>
          <p:cNvPr id="7" name="Alatunnisteen paikkamerkki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 dirty="0"/>
          </a:p>
        </p:txBody>
      </p:sp>
      <p:sp>
        <p:nvSpPr>
          <p:cNvPr id="11" name="Dian numeron paikkamerkki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963698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ue heading &amp; Blue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432000" y="1116000"/>
            <a:ext cx="7553553" cy="3600000"/>
          </a:xfrm>
        </p:spPr>
        <p:txBody>
          <a:bodyPr>
            <a:normAutofit/>
          </a:bodyPr>
          <a:lstStyle>
            <a:lvl1pPr>
              <a:buClr>
                <a:schemeClr val="tx1"/>
              </a:buClr>
              <a:defRPr/>
            </a:lvl1pPr>
            <a:lvl2pPr>
              <a:buClr>
                <a:schemeClr val="tx1"/>
              </a:buClr>
              <a:defRPr/>
            </a:lvl2pPr>
            <a:lvl3pPr>
              <a:buClr>
                <a:schemeClr val="tx1"/>
              </a:buClr>
              <a:defRPr/>
            </a:lvl3pPr>
            <a:lvl4pPr>
              <a:buClr>
                <a:schemeClr val="tx1"/>
              </a:buClr>
              <a:defRPr sz="1400"/>
            </a:lvl4pPr>
            <a:lvl5pPr>
              <a:buClr>
                <a:schemeClr val="tx1"/>
              </a:buCl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5.6.2024</a:t>
            </a:fld>
            <a:endParaRPr lang="fi-FI" dirty="0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 dirty="0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6601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ue heading &amp; Warm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432000" y="1116000"/>
            <a:ext cx="7553553" cy="3600000"/>
          </a:xfr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 sz="1400"/>
            </a:lvl4pPr>
            <a:lvl5pPr>
              <a:buClr>
                <a:schemeClr val="tx2"/>
              </a:buCl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5.6.2024</a:t>
            </a:fld>
            <a:endParaRPr lang="fi-FI" dirty="0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 dirty="0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040101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cente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611560" y="1116000"/>
            <a:ext cx="7920880" cy="3600000"/>
          </a:xfrm>
        </p:spPr>
        <p:txBody>
          <a:bodyPr>
            <a:normAutofit/>
          </a:bodyPr>
          <a:lstStyle>
            <a:lvl1pPr marL="0" indent="0" algn="ctr">
              <a:buClr>
                <a:schemeClr val="tx2"/>
              </a:buClr>
              <a:buNone/>
              <a:defRPr/>
            </a:lvl1pPr>
            <a:lvl2pPr marL="227256" indent="0" algn="ctr">
              <a:buClr>
                <a:schemeClr val="tx2"/>
              </a:buClr>
              <a:buNone/>
              <a:defRPr/>
            </a:lvl2pPr>
            <a:lvl3pPr marL="459923" indent="0" algn="ctr">
              <a:buClr>
                <a:schemeClr val="tx2"/>
              </a:buClr>
              <a:buNone/>
              <a:defRPr/>
            </a:lvl3pPr>
            <a:lvl4pPr marL="687179" indent="0" algn="ctr">
              <a:buClr>
                <a:schemeClr val="tx2"/>
              </a:buClr>
              <a:buNone/>
              <a:defRPr sz="1400"/>
            </a:lvl4pPr>
            <a:lvl5pPr marL="913081" indent="0" algn="ctr">
              <a:buClr>
                <a:schemeClr val="tx2"/>
              </a:buClr>
              <a:buNone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1560" y="144000"/>
            <a:ext cx="7920880" cy="827999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5.6.2024</a:t>
            </a:fld>
            <a:endParaRPr lang="fi-FI" dirty="0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 dirty="0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216710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image backgrou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7985553" cy="51435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144000"/>
            <a:ext cx="7380359" cy="8279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317500" algn="ctr" rotWithShape="0">
                    <a:prstClr val="black">
                      <a:alpha val="70000"/>
                    </a:prstClr>
                  </a:outerShdw>
                </a:effectLs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b="1">
                <a:solidFill>
                  <a:schemeClr val="bg1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709948" y="4839606"/>
            <a:ext cx="3099393" cy="108347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pPr algn="r"/>
            <a:r>
              <a:rPr lang="en-US"/>
              <a:t>Company confidential © Fazer. All rights reserved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 b="1">
                <a:solidFill>
                  <a:schemeClr val="bg1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pPr>
              <a:defRPr/>
            </a:pPr>
            <a:fld id="{5E3F96E3-49E0-442E-AFE6-A80E8118D25F}" type="datetime1">
              <a:rPr lang="fi-FI" smtClean="0"/>
              <a:t>5.6.2024</a:t>
            </a:fld>
            <a:endParaRPr lang="fi-FI" dirty="0"/>
          </a:p>
        </p:txBody>
      </p:sp>
      <p:sp>
        <p:nvSpPr>
          <p:cNvPr id="8" name="Content Placeholder 9"/>
          <p:cNvSpPr>
            <a:spLocks noGrp="1"/>
          </p:cNvSpPr>
          <p:nvPr>
            <p:ph sz="quarter" idx="14"/>
          </p:nvPr>
        </p:nvSpPr>
        <p:spPr>
          <a:xfrm>
            <a:off x="432000" y="1116000"/>
            <a:ext cx="7380359" cy="3600000"/>
          </a:xfrm>
        </p:spPr>
        <p:txBody>
          <a:bodyPr>
            <a:norm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  <a:effectLst>
                  <a:outerShdw blurRad="317500" algn="ctr" rotWithShape="0">
                    <a:prstClr val="black">
                      <a:alpha val="70000"/>
                    </a:prstClr>
                  </a:outerShdw>
                </a:effectLst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  <a:effectLst>
                  <a:outerShdw blurRad="317500" algn="ctr" rotWithShape="0">
                    <a:prstClr val="black">
                      <a:alpha val="70000"/>
                    </a:prstClr>
                  </a:outerShdw>
                </a:effectLst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  <a:effectLst>
                  <a:outerShdw blurRad="317500" algn="ctr" rotWithShape="0">
                    <a:prstClr val="black">
                      <a:alpha val="70000"/>
                    </a:prstClr>
                  </a:outerShdw>
                </a:effectLst>
              </a:defRPr>
            </a:lvl3pPr>
            <a:lvl4pPr>
              <a:buClr>
                <a:schemeClr val="bg1"/>
              </a:buClr>
              <a:defRPr sz="1400">
                <a:solidFill>
                  <a:schemeClr val="bg1"/>
                </a:solidFill>
                <a:effectLst>
                  <a:outerShdw blurRad="317500" algn="ctr" rotWithShape="0">
                    <a:prstClr val="black">
                      <a:alpha val="70000"/>
                    </a:prstClr>
                  </a:outerShdw>
                </a:effectLst>
              </a:defRPr>
            </a:lvl4pPr>
            <a:lvl5pPr>
              <a:buClr>
                <a:schemeClr val="bg1"/>
              </a:buClr>
              <a:defRPr sz="1200">
                <a:solidFill>
                  <a:schemeClr val="bg1"/>
                </a:solidFill>
                <a:effectLst>
                  <a:outerShdw blurRad="317500" algn="ctr" rotWithShape="0">
                    <a:prstClr val="black">
                      <a:alpha val="70000"/>
                    </a:prstClr>
                  </a:outerShdw>
                </a:effectLst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183435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Blue elem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432000" y="1116000"/>
            <a:ext cx="7553553" cy="3600000"/>
          </a:xfrm>
        </p:spPr>
        <p:txBody>
          <a:bodyPr>
            <a:normAutofit/>
          </a:bodyPr>
          <a:lstStyle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11" name="Ryhmä 1"/>
          <p:cNvGrpSpPr/>
          <p:nvPr/>
        </p:nvGrpSpPr>
        <p:grpSpPr>
          <a:xfrm>
            <a:off x="8127242" y="116975"/>
            <a:ext cx="871657" cy="870519"/>
            <a:chOff x="8127242" y="116975"/>
            <a:chExt cx="871657" cy="870519"/>
          </a:xfrm>
        </p:grpSpPr>
        <p:sp>
          <p:nvSpPr>
            <p:cNvPr id="13" name="Freeform 5"/>
            <p:cNvSpPr>
              <a:spLocks/>
            </p:cNvSpPr>
            <p:nvPr/>
          </p:nvSpPr>
          <p:spPr bwMode="white">
            <a:xfrm>
              <a:off x="8128948" y="118681"/>
              <a:ext cx="868434" cy="867107"/>
            </a:xfrm>
            <a:custGeom>
              <a:avLst/>
              <a:gdLst>
                <a:gd name="T0" fmla="*/ 20157 w 20157"/>
                <a:gd name="T1" fmla="*/ 10078 h 20156"/>
                <a:gd name="T2" fmla="*/ 10079 w 20157"/>
                <a:gd name="T3" fmla="*/ 20156 h 20156"/>
                <a:gd name="T4" fmla="*/ 0 w 20157"/>
                <a:gd name="T5" fmla="*/ 10078 h 20156"/>
                <a:gd name="T6" fmla="*/ 10079 w 20157"/>
                <a:gd name="T7" fmla="*/ 0 h 20156"/>
                <a:gd name="T8" fmla="*/ 20157 w 20157"/>
                <a:gd name="T9" fmla="*/ 10078 h 20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157" h="20156">
                  <a:moveTo>
                    <a:pt x="20157" y="10078"/>
                  </a:moveTo>
                  <a:cubicBezTo>
                    <a:pt x="20157" y="15644"/>
                    <a:pt x="15644" y="20156"/>
                    <a:pt x="10079" y="20156"/>
                  </a:cubicBezTo>
                  <a:cubicBezTo>
                    <a:pt x="4512" y="20156"/>
                    <a:pt x="0" y="15644"/>
                    <a:pt x="0" y="10078"/>
                  </a:cubicBezTo>
                  <a:cubicBezTo>
                    <a:pt x="0" y="4512"/>
                    <a:pt x="4512" y="0"/>
                    <a:pt x="10079" y="0"/>
                  </a:cubicBezTo>
                  <a:cubicBezTo>
                    <a:pt x="15644" y="0"/>
                    <a:pt x="20157" y="4512"/>
                    <a:pt x="20157" y="100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4" name="Freeform 6"/>
            <p:cNvSpPr>
              <a:spLocks/>
            </p:cNvSpPr>
            <p:nvPr/>
          </p:nvSpPr>
          <p:spPr bwMode="black">
            <a:xfrm>
              <a:off x="8141460" y="131003"/>
              <a:ext cx="843411" cy="842462"/>
            </a:xfrm>
            <a:custGeom>
              <a:avLst/>
              <a:gdLst>
                <a:gd name="T0" fmla="*/ 19577 w 19577"/>
                <a:gd name="T1" fmla="*/ 9788 h 19576"/>
                <a:gd name="T2" fmla="*/ 9789 w 19577"/>
                <a:gd name="T3" fmla="*/ 19576 h 19576"/>
                <a:gd name="T4" fmla="*/ 0 w 19577"/>
                <a:gd name="T5" fmla="*/ 9788 h 19576"/>
                <a:gd name="T6" fmla="*/ 9789 w 19577"/>
                <a:gd name="T7" fmla="*/ 0 h 19576"/>
                <a:gd name="T8" fmla="*/ 19577 w 19577"/>
                <a:gd name="T9" fmla="*/ 9788 h 19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77" h="19576">
                  <a:moveTo>
                    <a:pt x="19577" y="9788"/>
                  </a:moveTo>
                  <a:cubicBezTo>
                    <a:pt x="19577" y="15194"/>
                    <a:pt x="15194" y="19576"/>
                    <a:pt x="9789" y="19576"/>
                  </a:cubicBezTo>
                  <a:cubicBezTo>
                    <a:pt x="4382" y="19576"/>
                    <a:pt x="0" y="15194"/>
                    <a:pt x="0" y="9788"/>
                  </a:cubicBezTo>
                  <a:cubicBezTo>
                    <a:pt x="0" y="4382"/>
                    <a:pt x="4382" y="0"/>
                    <a:pt x="9789" y="0"/>
                  </a:cubicBezTo>
                  <a:cubicBezTo>
                    <a:pt x="15194" y="0"/>
                    <a:pt x="19577" y="4382"/>
                    <a:pt x="19577" y="9788"/>
                  </a:cubicBezTo>
                  <a:close/>
                </a:path>
              </a:pathLst>
            </a:custGeom>
            <a:solidFill>
              <a:srgbClr val="1525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5" name="AutoShape 3"/>
            <p:cNvSpPr>
              <a:spLocks noChangeAspect="1" noChangeArrowheads="1" noTextEdit="1"/>
            </p:cNvSpPr>
            <p:nvPr/>
          </p:nvSpPr>
          <p:spPr bwMode="hidden">
            <a:xfrm>
              <a:off x="8127242" y="116975"/>
              <a:ext cx="871657" cy="8705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6" name="Freeform 7"/>
            <p:cNvSpPr>
              <a:spLocks/>
            </p:cNvSpPr>
            <p:nvPr/>
          </p:nvSpPr>
          <p:spPr bwMode="white">
            <a:xfrm>
              <a:off x="8363260" y="591666"/>
              <a:ext cx="475260" cy="293080"/>
            </a:xfrm>
            <a:custGeom>
              <a:avLst/>
              <a:gdLst>
                <a:gd name="T0" fmla="*/ 10290 w 11030"/>
                <a:gd name="T1" fmla="*/ 76 h 6809"/>
                <a:gd name="T2" fmla="*/ 10869 w 11030"/>
                <a:gd name="T3" fmla="*/ 1274 h 6809"/>
                <a:gd name="T4" fmla="*/ 149 w 11030"/>
                <a:gd name="T5" fmla="*/ 3905 h 6809"/>
                <a:gd name="T6" fmla="*/ 23 w 11030"/>
                <a:gd name="T7" fmla="*/ 3696 h 6809"/>
                <a:gd name="T8" fmla="*/ 201 w 11030"/>
                <a:gd name="T9" fmla="*/ 3719 h 6809"/>
                <a:gd name="T10" fmla="*/ 9259 w 11030"/>
                <a:gd name="T11" fmla="*/ 812 h 6809"/>
                <a:gd name="T12" fmla="*/ 10290 w 11030"/>
                <a:gd name="T13" fmla="*/ 76 h 6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030" h="6809">
                  <a:moveTo>
                    <a:pt x="10290" y="76"/>
                  </a:moveTo>
                  <a:cubicBezTo>
                    <a:pt x="10826" y="166"/>
                    <a:pt x="11030" y="749"/>
                    <a:pt x="10869" y="1274"/>
                  </a:cubicBezTo>
                  <a:cubicBezTo>
                    <a:pt x="9736" y="4966"/>
                    <a:pt x="3442" y="6809"/>
                    <a:pt x="149" y="3905"/>
                  </a:cubicBezTo>
                  <a:cubicBezTo>
                    <a:pt x="27" y="3798"/>
                    <a:pt x="0" y="3735"/>
                    <a:pt x="23" y="3696"/>
                  </a:cubicBezTo>
                  <a:cubicBezTo>
                    <a:pt x="37" y="3671"/>
                    <a:pt x="85" y="3640"/>
                    <a:pt x="201" y="3719"/>
                  </a:cubicBezTo>
                  <a:cubicBezTo>
                    <a:pt x="3791" y="6181"/>
                    <a:pt x="8235" y="3695"/>
                    <a:pt x="9259" y="812"/>
                  </a:cubicBezTo>
                  <a:cubicBezTo>
                    <a:pt x="9467" y="226"/>
                    <a:pt x="9832" y="0"/>
                    <a:pt x="10290" y="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7" name="Freeform 8"/>
            <p:cNvSpPr>
              <a:spLocks/>
            </p:cNvSpPr>
            <p:nvPr/>
          </p:nvSpPr>
          <p:spPr bwMode="white">
            <a:xfrm>
              <a:off x="8229611" y="270719"/>
              <a:ext cx="351468" cy="168341"/>
            </a:xfrm>
            <a:custGeom>
              <a:avLst/>
              <a:gdLst>
                <a:gd name="T0" fmla="*/ 58 w 8157"/>
                <a:gd name="T1" fmla="*/ 3881 h 3911"/>
                <a:gd name="T2" fmla="*/ 42 w 8157"/>
                <a:gd name="T3" fmla="*/ 3757 h 3911"/>
                <a:gd name="T4" fmla="*/ 7928 w 8157"/>
                <a:gd name="T5" fmla="*/ 315 h 3911"/>
                <a:gd name="T6" fmla="*/ 8123 w 8157"/>
                <a:gd name="T7" fmla="*/ 374 h 3911"/>
                <a:gd name="T8" fmla="*/ 212 w 8157"/>
                <a:gd name="T9" fmla="*/ 3827 h 3911"/>
                <a:gd name="T10" fmla="*/ 58 w 8157"/>
                <a:gd name="T11" fmla="*/ 3881 h 39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57" h="3911">
                  <a:moveTo>
                    <a:pt x="58" y="3881"/>
                  </a:moveTo>
                  <a:cubicBezTo>
                    <a:pt x="25" y="3858"/>
                    <a:pt x="0" y="3858"/>
                    <a:pt x="42" y="3757"/>
                  </a:cubicBezTo>
                  <a:cubicBezTo>
                    <a:pt x="1218" y="860"/>
                    <a:pt x="6681" y="2044"/>
                    <a:pt x="7928" y="315"/>
                  </a:cubicBezTo>
                  <a:cubicBezTo>
                    <a:pt x="8157" y="0"/>
                    <a:pt x="8155" y="244"/>
                    <a:pt x="8123" y="374"/>
                  </a:cubicBezTo>
                  <a:cubicBezTo>
                    <a:pt x="7331" y="3484"/>
                    <a:pt x="2144" y="1519"/>
                    <a:pt x="212" y="3827"/>
                  </a:cubicBezTo>
                  <a:cubicBezTo>
                    <a:pt x="171" y="3875"/>
                    <a:pt x="99" y="3911"/>
                    <a:pt x="58" y="38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8" name="Freeform 9"/>
            <p:cNvSpPr>
              <a:spLocks/>
            </p:cNvSpPr>
            <p:nvPr/>
          </p:nvSpPr>
          <p:spPr bwMode="white">
            <a:xfrm>
              <a:off x="8237005" y="392425"/>
              <a:ext cx="157725" cy="368719"/>
            </a:xfrm>
            <a:custGeom>
              <a:avLst/>
              <a:gdLst>
                <a:gd name="T0" fmla="*/ 3645 w 3661"/>
                <a:gd name="T1" fmla="*/ 2724 h 8570"/>
                <a:gd name="T2" fmla="*/ 3288 w 3661"/>
                <a:gd name="T3" fmla="*/ 2624 h 8570"/>
                <a:gd name="T4" fmla="*/ 1665 w 3661"/>
                <a:gd name="T5" fmla="*/ 3390 h 8570"/>
                <a:gd name="T6" fmla="*/ 2367 w 3661"/>
                <a:gd name="T7" fmla="*/ 371 h 8570"/>
                <a:gd name="T8" fmla="*/ 809 w 3661"/>
                <a:gd name="T9" fmla="*/ 4293 h 8570"/>
                <a:gd name="T10" fmla="*/ 459 w 3661"/>
                <a:gd name="T11" fmla="*/ 8450 h 8570"/>
                <a:gd name="T12" fmla="*/ 1545 w 3661"/>
                <a:gd name="T13" fmla="*/ 4521 h 8570"/>
                <a:gd name="T14" fmla="*/ 3418 w 3661"/>
                <a:gd name="T15" fmla="*/ 3003 h 8570"/>
                <a:gd name="T16" fmla="*/ 3645 w 3661"/>
                <a:gd name="T17" fmla="*/ 2724 h 8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61" h="8570">
                  <a:moveTo>
                    <a:pt x="3645" y="2724"/>
                  </a:moveTo>
                  <a:cubicBezTo>
                    <a:pt x="3618" y="2614"/>
                    <a:pt x="3485" y="2592"/>
                    <a:pt x="3288" y="2624"/>
                  </a:cubicBezTo>
                  <a:cubicBezTo>
                    <a:pt x="3077" y="2657"/>
                    <a:pt x="2521" y="2753"/>
                    <a:pt x="1665" y="3390"/>
                  </a:cubicBezTo>
                  <a:cubicBezTo>
                    <a:pt x="1956" y="960"/>
                    <a:pt x="2385" y="513"/>
                    <a:pt x="2367" y="371"/>
                  </a:cubicBezTo>
                  <a:cubicBezTo>
                    <a:pt x="2325" y="33"/>
                    <a:pt x="1437" y="0"/>
                    <a:pt x="809" y="4293"/>
                  </a:cubicBezTo>
                  <a:cubicBezTo>
                    <a:pt x="163" y="5873"/>
                    <a:pt x="0" y="8356"/>
                    <a:pt x="459" y="8450"/>
                  </a:cubicBezTo>
                  <a:cubicBezTo>
                    <a:pt x="1053" y="8570"/>
                    <a:pt x="1323" y="6323"/>
                    <a:pt x="1545" y="4521"/>
                  </a:cubicBezTo>
                  <a:cubicBezTo>
                    <a:pt x="1994" y="3733"/>
                    <a:pt x="2950" y="3228"/>
                    <a:pt x="3418" y="3003"/>
                  </a:cubicBezTo>
                  <a:cubicBezTo>
                    <a:pt x="3629" y="2901"/>
                    <a:pt x="3661" y="2790"/>
                    <a:pt x="3645" y="27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9" name="Freeform 10"/>
            <p:cNvSpPr>
              <a:spLocks/>
            </p:cNvSpPr>
            <p:nvPr/>
          </p:nvSpPr>
          <p:spPr bwMode="white">
            <a:xfrm>
              <a:off x="8377858" y="385789"/>
              <a:ext cx="542179" cy="262179"/>
            </a:xfrm>
            <a:custGeom>
              <a:avLst/>
              <a:gdLst>
                <a:gd name="T0" fmla="*/ 9351 w 12588"/>
                <a:gd name="T1" fmla="*/ 848 h 6096"/>
                <a:gd name="T2" fmla="*/ 6832 w 12588"/>
                <a:gd name="T3" fmla="*/ 3597 h 6096"/>
                <a:gd name="T4" fmla="*/ 6312 w 12588"/>
                <a:gd name="T5" fmla="*/ 4119 h 6096"/>
                <a:gd name="T6" fmla="*/ 4932 w 12588"/>
                <a:gd name="T7" fmla="*/ 3977 h 6096"/>
                <a:gd name="T8" fmla="*/ 6629 w 12588"/>
                <a:gd name="T9" fmla="*/ 1522 h 6096"/>
                <a:gd name="T10" fmla="*/ 6177 w 12588"/>
                <a:gd name="T11" fmla="*/ 1412 h 6096"/>
                <a:gd name="T12" fmla="*/ 4067 w 12588"/>
                <a:gd name="T13" fmla="*/ 1880 h 6096"/>
                <a:gd name="T14" fmla="*/ 3698 w 12588"/>
                <a:gd name="T15" fmla="*/ 1683 h 6096"/>
                <a:gd name="T16" fmla="*/ 3750 w 12588"/>
                <a:gd name="T17" fmla="*/ 1975 h 6096"/>
                <a:gd name="T18" fmla="*/ 2721 w 12588"/>
                <a:gd name="T19" fmla="*/ 4588 h 6096"/>
                <a:gd name="T20" fmla="*/ 2637 w 12588"/>
                <a:gd name="T21" fmla="*/ 3938 h 6096"/>
                <a:gd name="T22" fmla="*/ 2789 w 12588"/>
                <a:gd name="T23" fmla="*/ 3312 h 6096"/>
                <a:gd name="T24" fmla="*/ 2344 w 12588"/>
                <a:gd name="T25" fmla="*/ 3180 h 6096"/>
                <a:gd name="T26" fmla="*/ 1897 w 12588"/>
                <a:gd name="T27" fmla="*/ 4130 h 6096"/>
                <a:gd name="T28" fmla="*/ 1117 w 12588"/>
                <a:gd name="T29" fmla="*/ 4803 h 6096"/>
                <a:gd name="T30" fmla="*/ 1390 w 12588"/>
                <a:gd name="T31" fmla="*/ 3389 h 6096"/>
                <a:gd name="T32" fmla="*/ 2263 w 12588"/>
                <a:gd name="T33" fmla="*/ 2652 h 6096"/>
                <a:gd name="T34" fmla="*/ 2701 w 12588"/>
                <a:gd name="T35" fmla="*/ 2779 h 6096"/>
                <a:gd name="T36" fmla="*/ 2504 w 12588"/>
                <a:gd name="T37" fmla="*/ 2281 h 6096"/>
                <a:gd name="T38" fmla="*/ 569 w 12588"/>
                <a:gd name="T39" fmla="*/ 3564 h 6096"/>
                <a:gd name="T40" fmla="*/ 546 w 12588"/>
                <a:gd name="T41" fmla="*/ 5934 h 6096"/>
                <a:gd name="T42" fmla="*/ 1841 w 12588"/>
                <a:gd name="T43" fmla="*/ 4848 h 6096"/>
                <a:gd name="T44" fmla="*/ 2281 w 12588"/>
                <a:gd name="T45" fmla="*/ 5566 h 6096"/>
                <a:gd name="T46" fmla="*/ 4028 w 12588"/>
                <a:gd name="T47" fmla="*/ 2206 h 6096"/>
                <a:gd name="T48" fmla="*/ 6038 w 12588"/>
                <a:gd name="T49" fmla="*/ 2093 h 6096"/>
                <a:gd name="T50" fmla="*/ 3818 w 12588"/>
                <a:gd name="T51" fmla="*/ 4451 h 6096"/>
                <a:gd name="T52" fmla="*/ 3662 w 12588"/>
                <a:gd name="T53" fmla="*/ 5160 h 6096"/>
                <a:gd name="T54" fmla="*/ 4046 w 12588"/>
                <a:gd name="T55" fmla="*/ 4979 h 6096"/>
                <a:gd name="T56" fmla="*/ 5541 w 12588"/>
                <a:gd name="T57" fmla="*/ 4709 h 6096"/>
                <a:gd name="T58" fmla="*/ 6943 w 12588"/>
                <a:gd name="T59" fmla="*/ 3936 h 6096"/>
                <a:gd name="T60" fmla="*/ 7813 w 12588"/>
                <a:gd name="T61" fmla="*/ 4314 h 6096"/>
                <a:gd name="T62" fmla="*/ 10525 w 12588"/>
                <a:gd name="T63" fmla="*/ 1055 h 6096"/>
                <a:gd name="T64" fmla="*/ 10657 w 12588"/>
                <a:gd name="T65" fmla="*/ 2235 h 6096"/>
                <a:gd name="T66" fmla="*/ 10909 w 12588"/>
                <a:gd name="T67" fmla="*/ 3539 h 6096"/>
                <a:gd name="T68" fmla="*/ 12581 w 12588"/>
                <a:gd name="T69" fmla="*/ 1902 h 6096"/>
                <a:gd name="T70" fmla="*/ 12517 w 12588"/>
                <a:gd name="T71" fmla="*/ 1701 h 6096"/>
                <a:gd name="T72" fmla="*/ 12386 w 12588"/>
                <a:gd name="T73" fmla="*/ 1812 h 6096"/>
                <a:gd name="T74" fmla="*/ 11500 w 12588"/>
                <a:gd name="T75" fmla="*/ 2750 h 6096"/>
                <a:gd name="T76" fmla="*/ 11387 w 12588"/>
                <a:gd name="T77" fmla="*/ 1219 h 6096"/>
                <a:gd name="T78" fmla="*/ 10665 w 12588"/>
                <a:gd name="T79" fmla="*/ 468 h 6096"/>
                <a:gd name="T80" fmla="*/ 10406 w 12588"/>
                <a:gd name="T81" fmla="*/ 227 h 6096"/>
                <a:gd name="T82" fmla="*/ 7936 w 12588"/>
                <a:gd name="T83" fmla="*/ 3603 h 6096"/>
                <a:gd name="T84" fmla="*/ 7761 w 12588"/>
                <a:gd name="T85" fmla="*/ 2121 h 6096"/>
                <a:gd name="T86" fmla="*/ 8696 w 12588"/>
                <a:gd name="T87" fmla="*/ 1332 h 6096"/>
                <a:gd name="T88" fmla="*/ 8034 w 12588"/>
                <a:gd name="T89" fmla="*/ 2470 h 6096"/>
                <a:gd name="T90" fmla="*/ 7904 w 12588"/>
                <a:gd name="T91" fmla="*/ 2625 h 6096"/>
                <a:gd name="T92" fmla="*/ 8147 w 12588"/>
                <a:gd name="T93" fmla="*/ 2701 h 6096"/>
                <a:gd name="T94" fmla="*/ 9351 w 12588"/>
                <a:gd name="T95" fmla="*/ 848 h 6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588" h="6096">
                  <a:moveTo>
                    <a:pt x="9351" y="848"/>
                  </a:moveTo>
                  <a:cubicBezTo>
                    <a:pt x="8431" y="28"/>
                    <a:pt x="6483" y="1805"/>
                    <a:pt x="6832" y="3597"/>
                  </a:cubicBezTo>
                  <a:cubicBezTo>
                    <a:pt x="6688" y="3993"/>
                    <a:pt x="6454" y="4101"/>
                    <a:pt x="6312" y="4119"/>
                  </a:cubicBezTo>
                  <a:cubicBezTo>
                    <a:pt x="5923" y="4168"/>
                    <a:pt x="5666" y="3742"/>
                    <a:pt x="4932" y="3977"/>
                  </a:cubicBezTo>
                  <a:cubicBezTo>
                    <a:pt x="5824" y="2907"/>
                    <a:pt x="6987" y="2091"/>
                    <a:pt x="6629" y="1522"/>
                  </a:cubicBezTo>
                  <a:cubicBezTo>
                    <a:pt x="6517" y="1344"/>
                    <a:pt x="6419" y="1292"/>
                    <a:pt x="6177" y="1412"/>
                  </a:cubicBezTo>
                  <a:cubicBezTo>
                    <a:pt x="5381" y="1804"/>
                    <a:pt x="4341" y="2073"/>
                    <a:pt x="4067" y="1880"/>
                  </a:cubicBezTo>
                  <a:cubicBezTo>
                    <a:pt x="4005" y="1625"/>
                    <a:pt x="3772" y="1584"/>
                    <a:pt x="3698" y="1683"/>
                  </a:cubicBezTo>
                  <a:cubicBezTo>
                    <a:pt x="3633" y="1768"/>
                    <a:pt x="3684" y="1882"/>
                    <a:pt x="3750" y="1975"/>
                  </a:cubicBezTo>
                  <a:cubicBezTo>
                    <a:pt x="3727" y="3144"/>
                    <a:pt x="3048" y="4671"/>
                    <a:pt x="2721" y="4588"/>
                  </a:cubicBezTo>
                  <a:cubicBezTo>
                    <a:pt x="2558" y="4545"/>
                    <a:pt x="2596" y="4242"/>
                    <a:pt x="2637" y="3938"/>
                  </a:cubicBezTo>
                  <a:cubicBezTo>
                    <a:pt x="2671" y="3682"/>
                    <a:pt x="2767" y="3400"/>
                    <a:pt x="2789" y="3312"/>
                  </a:cubicBezTo>
                  <a:cubicBezTo>
                    <a:pt x="2870" y="2989"/>
                    <a:pt x="2471" y="2934"/>
                    <a:pt x="2344" y="3180"/>
                  </a:cubicBezTo>
                  <a:cubicBezTo>
                    <a:pt x="2191" y="3477"/>
                    <a:pt x="2072" y="3844"/>
                    <a:pt x="1897" y="4130"/>
                  </a:cubicBezTo>
                  <a:cubicBezTo>
                    <a:pt x="1628" y="4577"/>
                    <a:pt x="1350" y="4905"/>
                    <a:pt x="1117" y="4803"/>
                  </a:cubicBezTo>
                  <a:cubicBezTo>
                    <a:pt x="846" y="4685"/>
                    <a:pt x="1007" y="4004"/>
                    <a:pt x="1390" y="3389"/>
                  </a:cubicBezTo>
                  <a:cubicBezTo>
                    <a:pt x="1743" y="2823"/>
                    <a:pt x="2071" y="2662"/>
                    <a:pt x="2263" y="2652"/>
                  </a:cubicBezTo>
                  <a:cubicBezTo>
                    <a:pt x="2518" y="2638"/>
                    <a:pt x="2582" y="2823"/>
                    <a:pt x="2701" y="2779"/>
                  </a:cubicBezTo>
                  <a:cubicBezTo>
                    <a:pt x="2839" y="2730"/>
                    <a:pt x="2823" y="2412"/>
                    <a:pt x="2504" y="2281"/>
                  </a:cubicBezTo>
                  <a:cubicBezTo>
                    <a:pt x="1917" y="2041"/>
                    <a:pt x="1009" y="2690"/>
                    <a:pt x="569" y="3564"/>
                  </a:cubicBezTo>
                  <a:cubicBezTo>
                    <a:pt x="92" y="4512"/>
                    <a:pt x="0" y="5743"/>
                    <a:pt x="546" y="5934"/>
                  </a:cubicBezTo>
                  <a:cubicBezTo>
                    <a:pt x="1003" y="6096"/>
                    <a:pt x="1605" y="5357"/>
                    <a:pt x="1841" y="4848"/>
                  </a:cubicBezTo>
                  <a:cubicBezTo>
                    <a:pt x="1854" y="5120"/>
                    <a:pt x="1924" y="5511"/>
                    <a:pt x="2281" y="5566"/>
                  </a:cubicBezTo>
                  <a:cubicBezTo>
                    <a:pt x="2940" y="5669"/>
                    <a:pt x="3948" y="3725"/>
                    <a:pt x="4028" y="2206"/>
                  </a:cubicBezTo>
                  <a:cubicBezTo>
                    <a:pt x="4324" y="2445"/>
                    <a:pt x="5357" y="2398"/>
                    <a:pt x="6038" y="2093"/>
                  </a:cubicBezTo>
                  <a:cubicBezTo>
                    <a:pt x="5460" y="2764"/>
                    <a:pt x="4062" y="4098"/>
                    <a:pt x="3818" y="4451"/>
                  </a:cubicBezTo>
                  <a:cubicBezTo>
                    <a:pt x="3574" y="4804"/>
                    <a:pt x="3476" y="5028"/>
                    <a:pt x="3662" y="5160"/>
                  </a:cubicBezTo>
                  <a:cubicBezTo>
                    <a:pt x="3803" y="5260"/>
                    <a:pt x="3897" y="5125"/>
                    <a:pt x="4046" y="4979"/>
                  </a:cubicBezTo>
                  <a:cubicBezTo>
                    <a:pt x="4730" y="4311"/>
                    <a:pt x="5043" y="4637"/>
                    <a:pt x="5541" y="4709"/>
                  </a:cubicBezTo>
                  <a:cubicBezTo>
                    <a:pt x="5936" y="4767"/>
                    <a:pt x="6607" y="4679"/>
                    <a:pt x="6943" y="3936"/>
                  </a:cubicBezTo>
                  <a:cubicBezTo>
                    <a:pt x="7154" y="4219"/>
                    <a:pt x="7519" y="4308"/>
                    <a:pt x="7813" y="4314"/>
                  </a:cubicBezTo>
                  <a:cubicBezTo>
                    <a:pt x="8924" y="4331"/>
                    <a:pt x="10162" y="2804"/>
                    <a:pt x="10525" y="1055"/>
                  </a:cubicBezTo>
                  <a:cubicBezTo>
                    <a:pt x="10945" y="1254"/>
                    <a:pt x="10774" y="1724"/>
                    <a:pt x="10657" y="2235"/>
                  </a:cubicBezTo>
                  <a:cubicBezTo>
                    <a:pt x="10525" y="2807"/>
                    <a:pt x="10550" y="3368"/>
                    <a:pt x="10909" y="3539"/>
                  </a:cubicBezTo>
                  <a:cubicBezTo>
                    <a:pt x="11724" y="3927"/>
                    <a:pt x="12533" y="2542"/>
                    <a:pt x="12581" y="1902"/>
                  </a:cubicBezTo>
                  <a:cubicBezTo>
                    <a:pt x="12588" y="1797"/>
                    <a:pt x="12564" y="1717"/>
                    <a:pt x="12517" y="1701"/>
                  </a:cubicBezTo>
                  <a:cubicBezTo>
                    <a:pt x="12463" y="1681"/>
                    <a:pt x="12414" y="1730"/>
                    <a:pt x="12386" y="1812"/>
                  </a:cubicBezTo>
                  <a:cubicBezTo>
                    <a:pt x="12244" y="2240"/>
                    <a:pt x="11822" y="2840"/>
                    <a:pt x="11500" y="2750"/>
                  </a:cubicBezTo>
                  <a:cubicBezTo>
                    <a:pt x="11097" y="2638"/>
                    <a:pt x="11484" y="1762"/>
                    <a:pt x="11387" y="1219"/>
                  </a:cubicBezTo>
                  <a:cubicBezTo>
                    <a:pt x="11311" y="800"/>
                    <a:pt x="10894" y="652"/>
                    <a:pt x="10665" y="468"/>
                  </a:cubicBezTo>
                  <a:cubicBezTo>
                    <a:pt x="10668" y="91"/>
                    <a:pt x="10444" y="0"/>
                    <a:pt x="10406" y="227"/>
                  </a:cubicBezTo>
                  <a:cubicBezTo>
                    <a:pt x="9991" y="2763"/>
                    <a:pt x="8674" y="3863"/>
                    <a:pt x="7936" y="3603"/>
                  </a:cubicBezTo>
                  <a:cubicBezTo>
                    <a:pt x="7441" y="3427"/>
                    <a:pt x="7550" y="2645"/>
                    <a:pt x="7761" y="2121"/>
                  </a:cubicBezTo>
                  <a:cubicBezTo>
                    <a:pt x="8003" y="1521"/>
                    <a:pt x="8495" y="1150"/>
                    <a:pt x="8696" y="1332"/>
                  </a:cubicBezTo>
                  <a:cubicBezTo>
                    <a:pt x="8910" y="1527"/>
                    <a:pt x="8567" y="2293"/>
                    <a:pt x="8034" y="2470"/>
                  </a:cubicBezTo>
                  <a:cubicBezTo>
                    <a:pt x="7904" y="2513"/>
                    <a:pt x="7890" y="2580"/>
                    <a:pt x="7904" y="2625"/>
                  </a:cubicBezTo>
                  <a:cubicBezTo>
                    <a:pt x="7924" y="2688"/>
                    <a:pt x="8020" y="2722"/>
                    <a:pt x="8147" y="2701"/>
                  </a:cubicBezTo>
                  <a:cubicBezTo>
                    <a:pt x="9272" y="2522"/>
                    <a:pt x="9854" y="1297"/>
                    <a:pt x="9351" y="8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4" name="Päivämäärän paikkamerkki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5.6.2024</a:t>
            </a:fld>
            <a:endParaRPr lang="fi-FI" dirty="0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 dirty="0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F8329E67-B4F3-C04E-8C0E-CC565D75CAF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grpSp>
        <p:nvGrpSpPr>
          <p:cNvPr id="21" name="Ryhmä 1">
            <a:extLst>
              <a:ext uri="{FF2B5EF4-FFF2-40B4-BE49-F238E27FC236}">
                <a16:creationId xmlns:a16="http://schemas.microsoft.com/office/drawing/2014/main" id="{5611E65B-5C36-A045-B4F4-514978214122}"/>
              </a:ext>
            </a:extLst>
          </p:cNvPr>
          <p:cNvGrpSpPr/>
          <p:nvPr userDrawn="1"/>
        </p:nvGrpSpPr>
        <p:grpSpPr>
          <a:xfrm>
            <a:off x="8127242" y="116975"/>
            <a:ext cx="871657" cy="870519"/>
            <a:chOff x="8127242" y="116975"/>
            <a:chExt cx="871657" cy="870519"/>
          </a:xfrm>
        </p:grpSpPr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670BC960-1BA1-FC49-AA52-DBB739D82CFA}"/>
                </a:ext>
              </a:extLst>
            </p:cNvPr>
            <p:cNvSpPr>
              <a:spLocks/>
            </p:cNvSpPr>
            <p:nvPr/>
          </p:nvSpPr>
          <p:spPr bwMode="white">
            <a:xfrm>
              <a:off x="8128948" y="118681"/>
              <a:ext cx="868434" cy="867107"/>
            </a:xfrm>
            <a:custGeom>
              <a:avLst/>
              <a:gdLst>
                <a:gd name="T0" fmla="*/ 20157 w 20157"/>
                <a:gd name="T1" fmla="*/ 10078 h 20156"/>
                <a:gd name="T2" fmla="*/ 10079 w 20157"/>
                <a:gd name="T3" fmla="*/ 20156 h 20156"/>
                <a:gd name="T4" fmla="*/ 0 w 20157"/>
                <a:gd name="T5" fmla="*/ 10078 h 20156"/>
                <a:gd name="T6" fmla="*/ 10079 w 20157"/>
                <a:gd name="T7" fmla="*/ 0 h 20156"/>
                <a:gd name="T8" fmla="*/ 20157 w 20157"/>
                <a:gd name="T9" fmla="*/ 10078 h 20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157" h="20156">
                  <a:moveTo>
                    <a:pt x="20157" y="10078"/>
                  </a:moveTo>
                  <a:cubicBezTo>
                    <a:pt x="20157" y="15644"/>
                    <a:pt x="15644" y="20156"/>
                    <a:pt x="10079" y="20156"/>
                  </a:cubicBezTo>
                  <a:cubicBezTo>
                    <a:pt x="4512" y="20156"/>
                    <a:pt x="0" y="15644"/>
                    <a:pt x="0" y="10078"/>
                  </a:cubicBezTo>
                  <a:cubicBezTo>
                    <a:pt x="0" y="4512"/>
                    <a:pt x="4512" y="0"/>
                    <a:pt x="10079" y="0"/>
                  </a:cubicBezTo>
                  <a:cubicBezTo>
                    <a:pt x="15644" y="0"/>
                    <a:pt x="20157" y="4512"/>
                    <a:pt x="20157" y="100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3" name="Freeform 6">
              <a:extLst>
                <a:ext uri="{FF2B5EF4-FFF2-40B4-BE49-F238E27FC236}">
                  <a16:creationId xmlns:a16="http://schemas.microsoft.com/office/drawing/2014/main" id="{D0185B27-88D3-A543-83E3-7ED2294405F9}"/>
                </a:ext>
              </a:extLst>
            </p:cNvPr>
            <p:cNvSpPr>
              <a:spLocks/>
            </p:cNvSpPr>
            <p:nvPr/>
          </p:nvSpPr>
          <p:spPr bwMode="black">
            <a:xfrm>
              <a:off x="8141460" y="131003"/>
              <a:ext cx="843411" cy="842462"/>
            </a:xfrm>
            <a:custGeom>
              <a:avLst/>
              <a:gdLst>
                <a:gd name="T0" fmla="*/ 19577 w 19577"/>
                <a:gd name="T1" fmla="*/ 9788 h 19576"/>
                <a:gd name="T2" fmla="*/ 9789 w 19577"/>
                <a:gd name="T3" fmla="*/ 19576 h 19576"/>
                <a:gd name="T4" fmla="*/ 0 w 19577"/>
                <a:gd name="T5" fmla="*/ 9788 h 19576"/>
                <a:gd name="T6" fmla="*/ 9789 w 19577"/>
                <a:gd name="T7" fmla="*/ 0 h 19576"/>
                <a:gd name="T8" fmla="*/ 19577 w 19577"/>
                <a:gd name="T9" fmla="*/ 9788 h 19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77" h="19576">
                  <a:moveTo>
                    <a:pt x="19577" y="9788"/>
                  </a:moveTo>
                  <a:cubicBezTo>
                    <a:pt x="19577" y="15194"/>
                    <a:pt x="15194" y="19576"/>
                    <a:pt x="9789" y="19576"/>
                  </a:cubicBezTo>
                  <a:cubicBezTo>
                    <a:pt x="4382" y="19576"/>
                    <a:pt x="0" y="15194"/>
                    <a:pt x="0" y="9788"/>
                  </a:cubicBezTo>
                  <a:cubicBezTo>
                    <a:pt x="0" y="4382"/>
                    <a:pt x="4382" y="0"/>
                    <a:pt x="9789" y="0"/>
                  </a:cubicBezTo>
                  <a:cubicBezTo>
                    <a:pt x="15194" y="0"/>
                    <a:pt x="19577" y="4382"/>
                    <a:pt x="19577" y="9788"/>
                  </a:cubicBezTo>
                  <a:close/>
                </a:path>
              </a:pathLst>
            </a:custGeom>
            <a:solidFill>
              <a:srgbClr val="1525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4" name="AutoShape 3">
              <a:extLst>
                <a:ext uri="{FF2B5EF4-FFF2-40B4-BE49-F238E27FC236}">
                  <a16:creationId xmlns:a16="http://schemas.microsoft.com/office/drawing/2014/main" id="{F549DFCF-9BAA-DB4D-A9F4-20506F1A1BE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hidden">
            <a:xfrm>
              <a:off x="8127242" y="116975"/>
              <a:ext cx="871657" cy="8705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8F6F86F0-1998-3847-8904-7178584DAC63}"/>
                </a:ext>
              </a:extLst>
            </p:cNvPr>
            <p:cNvSpPr>
              <a:spLocks/>
            </p:cNvSpPr>
            <p:nvPr/>
          </p:nvSpPr>
          <p:spPr bwMode="white">
            <a:xfrm>
              <a:off x="8363260" y="591666"/>
              <a:ext cx="475260" cy="293080"/>
            </a:xfrm>
            <a:custGeom>
              <a:avLst/>
              <a:gdLst>
                <a:gd name="T0" fmla="*/ 10290 w 11030"/>
                <a:gd name="T1" fmla="*/ 76 h 6809"/>
                <a:gd name="T2" fmla="*/ 10869 w 11030"/>
                <a:gd name="T3" fmla="*/ 1274 h 6809"/>
                <a:gd name="T4" fmla="*/ 149 w 11030"/>
                <a:gd name="T5" fmla="*/ 3905 h 6809"/>
                <a:gd name="T6" fmla="*/ 23 w 11030"/>
                <a:gd name="T7" fmla="*/ 3696 h 6809"/>
                <a:gd name="T8" fmla="*/ 201 w 11030"/>
                <a:gd name="T9" fmla="*/ 3719 h 6809"/>
                <a:gd name="T10" fmla="*/ 9259 w 11030"/>
                <a:gd name="T11" fmla="*/ 812 h 6809"/>
                <a:gd name="T12" fmla="*/ 10290 w 11030"/>
                <a:gd name="T13" fmla="*/ 76 h 6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030" h="6809">
                  <a:moveTo>
                    <a:pt x="10290" y="76"/>
                  </a:moveTo>
                  <a:cubicBezTo>
                    <a:pt x="10826" y="166"/>
                    <a:pt x="11030" y="749"/>
                    <a:pt x="10869" y="1274"/>
                  </a:cubicBezTo>
                  <a:cubicBezTo>
                    <a:pt x="9736" y="4966"/>
                    <a:pt x="3442" y="6809"/>
                    <a:pt x="149" y="3905"/>
                  </a:cubicBezTo>
                  <a:cubicBezTo>
                    <a:pt x="27" y="3798"/>
                    <a:pt x="0" y="3735"/>
                    <a:pt x="23" y="3696"/>
                  </a:cubicBezTo>
                  <a:cubicBezTo>
                    <a:pt x="37" y="3671"/>
                    <a:pt x="85" y="3640"/>
                    <a:pt x="201" y="3719"/>
                  </a:cubicBezTo>
                  <a:cubicBezTo>
                    <a:pt x="3791" y="6181"/>
                    <a:pt x="8235" y="3695"/>
                    <a:pt x="9259" y="812"/>
                  </a:cubicBezTo>
                  <a:cubicBezTo>
                    <a:pt x="9467" y="226"/>
                    <a:pt x="9832" y="0"/>
                    <a:pt x="10290" y="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6" name="Freeform 8">
              <a:extLst>
                <a:ext uri="{FF2B5EF4-FFF2-40B4-BE49-F238E27FC236}">
                  <a16:creationId xmlns:a16="http://schemas.microsoft.com/office/drawing/2014/main" id="{5F1694F1-0542-414D-A5F5-24B3DA0FDC30}"/>
                </a:ext>
              </a:extLst>
            </p:cNvPr>
            <p:cNvSpPr>
              <a:spLocks/>
            </p:cNvSpPr>
            <p:nvPr/>
          </p:nvSpPr>
          <p:spPr bwMode="white">
            <a:xfrm>
              <a:off x="8229611" y="270719"/>
              <a:ext cx="351468" cy="168341"/>
            </a:xfrm>
            <a:custGeom>
              <a:avLst/>
              <a:gdLst>
                <a:gd name="T0" fmla="*/ 58 w 8157"/>
                <a:gd name="T1" fmla="*/ 3881 h 3911"/>
                <a:gd name="T2" fmla="*/ 42 w 8157"/>
                <a:gd name="T3" fmla="*/ 3757 h 3911"/>
                <a:gd name="T4" fmla="*/ 7928 w 8157"/>
                <a:gd name="T5" fmla="*/ 315 h 3911"/>
                <a:gd name="T6" fmla="*/ 8123 w 8157"/>
                <a:gd name="T7" fmla="*/ 374 h 3911"/>
                <a:gd name="T8" fmla="*/ 212 w 8157"/>
                <a:gd name="T9" fmla="*/ 3827 h 3911"/>
                <a:gd name="T10" fmla="*/ 58 w 8157"/>
                <a:gd name="T11" fmla="*/ 3881 h 39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57" h="3911">
                  <a:moveTo>
                    <a:pt x="58" y="3881"/>
                  </a:moveTo>
                  <a:cubicBezTo>
                    <a:pt x="25" y="3858"/>
                    <a:pt x="0" y="3858"/>
                    <a:pt x="42" y="3757"/>
                  </a:cubicBezTo>
                  <a:cubicBezTo>
                    <a:pt x="1218" y="860"/>
                    <a:pt x="6681" y="2044"/>
                    <a:pt x="7928" y="315"/>
                  </a:cubicBezTo>
                  <a:cubicBezTo>
                    <a:pt x="8157" y="0"/>
                    <a:pt x="8155" y="244"/>
                    <a:pt x="8123" y="374"/>
                  </a:cubicBezTo>
                  <a:cubicBezTo>
                    <a:pt x="7331" y="3484"/>
                    <a:pt x="2144" y="1519"/>
                    <a:pt x="212" y="3827"/>
                  </a:cubicBezTo>
                  <a:cubicBezTo>
                    <a:pt x="171" y="3875"/>
                    <a:pt x="99" y="3911"/>
                    <a:pt x="58" y="38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7" name="Freeform 9">
              <a:extLst>
                <a:ext uri="{FF2B5EF4-FFF2-40B4-BE49-F238E27FC236}">
                  <a16:creationId xmlns:a16="http://schemas.microsoft.com/office/drawing/2014/main" id="{51BD5015-5FE9-CB41-B952-BC05483CC77A}"/>
                </a:ext>
              </a:extLst>
            </p:cNvPr>
            <p:cNvSpPr>
              <a:spLocks/>
            </p:cNvSpPr>
            <p:nvPr/>
          </p:nvSpPr>
          <p:spPr bwMode="white">
            <a:xfrm>
              <a:off x="8237005" y="392425"/>
              <a:ext cx="157725" cy="368719"/>
            </a:xfrm>
            <a:custGeom>
              <a:avLst/>
              <a:gdLst>
                <a:gd name="T0" fmla="*/ 3645 w 3661"/>
                <a:gd name="T1" fmla="*/ 2724 h 8570"/>
                <a:gd name="T2" fmla="*/ 3288 w 3661"/>
                <a:gd name="T3" fmla="*/ 2624 h 8570"/>
                <a:gd name="T4" fmla="*/ 1665 w 3661"/>
                <a:gd name="T5" fmla="*/ 3390 h 8570"/>
                <a:gd name="T6" fmla="*/ 2367 w 3661"/>
                <a:gd name="T7" fmla="*/ 371 h 8570"/>
                <a:gd name="T8" fmla="*/ 809 w 3661"/>
                <a:gd name="T9" fmla="*/ 4293 h 8570"/>
                <a:gd name="T10" fmla="*/ 459 w 3661"/>
                <a:gd name="T11" fmla="*/ 8450 h 8570"/>
                <a:gd name="T12" fmla="*/ 1545 w 3661"/>
                <a:gd name="T13" fmla="*/ 4521 h 8570"/>
                <a:gd name="T14" fmla="*/ 3418 w 3661"/>
                <a:gd name="T15" fmla="*/ 3003 h 8570"/>
                <a:gd name="T16" fmla="*/ 3645 w 3661"/>
                <a:gd name="T17" fmla="*/ 2724 h 8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61" h="8570">
                  <a:moveTo>
                    <a:pt x="3645" y="2724"/>
                  </a:moveTo>
                  <a:cubicBezTo>
                    <a:pt x="3618" y="2614"/>
                    <a:pt x="3485" y="2592"/>
                    <a:pt x="3288" y="2624"/>
                  </a:cubicBezTo>
                  <a:cubicBezTo>
                    <a:pt x="3077" y="2657"/>
                    <a:pt x="2521" y="2753"/>
                    <a:pt x="1665" y="3390"/>
                  </a:cubicBezTo>
                  <a:cubicBezTo>
                    <a:pt x="1956" y="960"/>
                    <a:pt x="2385" y="513"/>
                    <a:pt x="2367" y="371"/>
                  </a:cubicBezTo>
                  <a:cubicBezTo>
                    <a:pt x="2325" y="33"/>
                    <a:pt x="1437" y="0"/>
                    <a:pt x="809" y="4293"/>
                  </a:cubicBezTo>
                  <a:cubicBezTo>
                    <a:pt x="163" y="5873"/>
                    <a:pt x="0" y="8356"/>
                    <a:pt x="459" y="8450"/>
                  </a:cubicBezTo>
                  <a:cubicBezTo>
                    <a:pt x="1053" y="8570"/>
                    <a:pt x="1323" y="6323"/>
                    <a:pt x="1545" y="4521"/>
                  </a:cubicBezTo>
                  <a:cubicBezTo>
                    <a:pt x="1994" y="3733"/>
                    <a:pt x="2950" y="3228"/>
                    <a:pt x="3418" y="3003"/>
                  </a:cubicBezTo>
                  <a:cubicBezTo>
                    <a:pt x="3629" y="2901"/>
                    <a:pt x="3661" y="2790"/>
                    <a:pt x="3645" y="27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8" name="Freeform 10">
              <a:extLst>
                <a:ext uri="{FF2B5EF4-FFF2-40B4-BE49-F238E27FC236}">
                  <a16:creationId xmlns:a16="http://schemas.microsoft.com/office/drawing/2014/main" id="{B866ACE6-B48A-3C4A-8179-85F37FFC080E}"/>
                </a:ext>
              </a:extLst>
            </p:cNvPr>
            <p:cNvSpPr>
              <a:spLocks/>
            </p:cNvSpPr>
            <p:nvPr/>
          </p:nvSpPr>
          <p:spPr bwMode="white">
            <a:xfrm>
              <a:off x="8377858" y="385789"/>
              <a:ext cx="542179" cy="262179"/>
            </a:xfrm>
            <a:custGeom>
              <a:avLst/>
              <a:gdLst>
                <a:gd name="T0" fmla="*/ 9351 w 12588"/>
                <a:gd name="T1" fmla="*/ 848 h 6096"/>
                <a:gd name="T2" fmla="*/ 6832 w 12588"/>
                <a:gd name="T3" fmla="*/ 3597 h 6096"/>
                <a:gd name="T4" fmla="*/ 6312 w 12588"/>
                <a:gd name="T5" fmla="*/ 4119 h 6096"/>
                <a:gd name="T6" fmla="*/ 4932 w 12588"/>
                <a:gd name="T7" fmla="*/ 3977 h 6096"/>
                <a:gd name="T8" fmla="*/ 6629 w 12588"/>
                <a:gd name="T9" fmla="*/ 1522 h 6096"/>
                <a:gd name="T10" fmla="*/ 6177 w 12588"/>
                <a:gd name="T11" fmla="*/ 1412 h 6096"/>
                <a:gd name="T12" fmla="*/ 4067 w 12588"/>
                <a:gd name="T13" fmla="*/ 1880 h 6096"/>
                <a:gd name="T14" fmla="*/ 3698 w 12588"/>
                <a:gd name="T15" fmla="*/ 1683 h 6096"/>
                <a:gd name="T16" fmla="*/ 3750 w 12588"/>
                <a:gd name="T17" fmla="*/ 1975 h 6096"/>
                <a:gd name="T18" fmla="*/ 2721 w 12588"/>
                <a:gd name="T19" fmla="*/ 4588 h 6096"/>
                <a:gd name="T20" fmla="*/ 2637 w 12588"/>
                <a:gd name="T21" fmla="*/ 3938 h 6096"/>
                <a:gd name="T22" fmla="*/ 2789 w 12588"/>
                <a:gd name="T23" fmla="*/ 3312 h 6096"/>
                <a:gd name="T24" fmla="*/ 2344 w 12588"/>
                <a:gd name="T25" fmla="*/ 3180 h 6096"/>
                <a:gd name="T26" fmla="*/ 1897 w 12588"/>
                <a:gd name="T27" fmla="*/ 4130 h 6096"/>
                <a:gd name="T28" fmla="*/ 1117 w 12588"/>
                <a:gd name="T29" fmla="*/ 4803 h 6096"/>
                <a:gd name="T30" fmla="*/ 1390 w 12588"/>
                <a:gd name="T31" fmla="*/ 3389 h 6096"/>
                <a:gd name="T32" fmla="*/ 2263 w 12588"/>
                <a:gd name="T33" fmla="*/ 2652 h 6096"/>
                <a:gd name="T34" fmla="*/ 2701 w 12588"/>
                <a:gd name="T35" fmla="*/ 2779 h 6096"/>
                <a:gd name="T36" fmla="*/ 2504 w 12588"/>
                <a:gd name="T37" fmla="*/ 2281 h 6096"/>
                <a:gd name="T38" fmla="*/ 569 w 12588"/>
                <a:gd name="T39" fmla="*/ 3564 h 6096"/>
                <a:gd name="T40" fmla="*/ 546 w 12588"/>
                <a:gd name="T41" fmla="*/ 5934 h 6096"/>
                <a:gd name="T42" fmla="*/ 1841 w 12588"/>
                <a:gd name="T43" fmla="*/ 4848 h 6096"/>
                <a:gd name="T44" fmla="*/ 2281 w 12588"/>
                <a:gd name="T45" fmla="*/ 5566 h 6096"/>
                <a:gd name="T46" fmla="*/ 4028 w 12588"/>
                <a:gd name="T47" fmla="*/ 2206 h 6096"/>
                <a:gd name="T48" fmla="*/ 6038 w 12588"/>
                <a:gd name="T49" fmla="*/ 2093 h 6096"/>
                <a:gd name="T50" fmla="*/ 3818 w 12588"/>
                <a:gd name="T51" fmla="*/ 4451 h 6096"/>
                <a:gd name="T52" fmla="*/ 3662 w 12588"/>
                <a:gd name="T53" fmla="*/ 5160 h 6096"/>
                <a:gd name="T54" fmla="*/ 4046 w 12588"/>
                <a:gd name="T55" fmla="*/ 4979 h 6096"/>
                <a:gd name="T56" fmla="*/ 5541 w 12588"/>
                <a:gd name="T57" fmla="*/ 4709 h 6096"/>
                <a:gd name="T58" fmla="*/ 6943 w 12588"/>
                <a:gd name="T59" fmla="*/ 3936 h 6096"/>
                <a:gd name="T60" fmla="*/ 7813 w 12588"/>
                <a:gd name="T61" fmla="*/ 4314 h 6096"/>
                <a:gd name="T62" fmla="*/ 10525 w 12588"/>
                <a:gd name="T63" fmla="*/ 1055 h 6096"/>
                <a:gd name="T64" fmla="*/ 10657 w 12588"/>
                <a:gd name="T65" fmla="*/ 2235 h 6096"/>
                <a:gd name="T66" fmla="*/ 10909 w 12588"/>
                <a:gd name="T67" fmla="*/ 3539 h 6096"/>
                <a:gd name="T68" fmla="*/ 12581 w 12588"/>
                <a:gd name="T69" fmla="*/ 1902 h 6096"/>
                <a:gd name="T70" fmla="*/ 12517 w 12588"/>
                <a:gd name="T71" fmla="*/ 1701 h 6096"/>
                <a:gd name="T72" fmla="*/ 12386 w 12588"/>
                <a:gd name="T73" fmla="*/ 1812 h 6096"/>
                <a:gd name="T74" fmla="*/ 11500 w 12588"/>
                <a:gd name="T75" fmla="*/ 2750 h 6096"/>
                <a:gd name="T76" fmla="*/ 11387 w 12588"/>
                <a:gd name="T77" fmla="*/ 1219 h 6096"/>
                <a:gd name="T78" fmla="*/ 10665 w 12588"/>
                <a:gd name="T79" fmla="*/ 468 h 6096"/>
                <a:gd name="T80" fmla="*/ 10406 w 12588"/>
                <a:gd name="T81" fmla="*/ 227 h 6096"/>
                <a:gd name="T82" fmla="*/ 7936 w 12588"/>
                <a:gd name="T83" fmla="*/ 3603 h 6096"/>
                <a:gd name="T84" fmla="*/ 7761 w 12588"/>
                <a:gd name="T85" fmla="*/ 2121 h 6096"/>
                <a:gd name="T86" fmla="*/ 8696 w 12588"/>
                <a:gd name="T87" fmla="*/ 1332 h 6096"/>
                <a:gd name="T88" fmla="*/ 8034 w 12588"/>
                <a:gd name="T89" fmla="*/ 2470 h 6096"/>
                <a:gd name="T90" fmla="*/ 7904 w 12588"/>
                <a:gd name="T91" fmla="*/ 2625 h 6096"/>
                <a:gd name="T92" fmla="*/ 8147 w 12588"/>
                <a:gd name="T93" fmla="*/ 2701 h 6096"/>
                <a:gd name="T94" fmla="*/ 9351 w 12588"/>
                <a:gd name="T95" fmla="*/ 848 h 6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588" h="6096">
                  <a:moveTo>
                    <a:pt x="9351" y="848"/>
                  </a:moveTo>
                  <a:cubicBezTo>
                    <a:pt x="8431" y="28"/>
                    <a:pt x="6483" y="1805"/>
                    <a:pt x="6832" y="3597"/>
                  </a:cubicBezTo>
                  <a:cubicBezTo>
                    <a:pt x="6688" y="3993"/>
                    <a:pt x="6454" y="4101"/>
                    <a:pt x="6312" y="4119"/>
                  </a:cubicBezTo>
                  <a:cubicBezTo>
                    <a:pt x="5923" y="4168"/>
                    <a:pt x="5666" y="3742"/>
                    <a:pt x="4932" y="3977"/>
                  </a:cubicBezTo>
                  <a:cubicBezTo>
                    <a:pt x="5824" y="2907"/>
                    <a:pt x="6987" y="2091"/>
                    <a:pt x="6629" y="1522"/>
                  </a:cubicBezTo>
                  <a:cubicBezTo>
                    <a:pt x="6517" y="1344"/>
                    <a:pt x="6419" y="1292"/>
                    <a:pt x="6177" y="1412"/>
                  </a:cubicBezTo>
                  <a:cubicBezTo>
                    <a:pt x="5381" y="1804"/>
                    <a:pt x="4341" y="2073"/>
                    <a:pt x="4067" y="1880"/>
                  </a:cubicBezTo>
                  <a:cubicBezTo>
                    <a:pt x="4005" y="1625"/>
                    <a:pt x="3772" y="1584"/>
                    <a:pt x="3698" y="1683"/>
                  </a:cubicBezTo>
                  <a:cubicBezTo>
                    <a:pt x="3633" y="1768"/>
                    <a:pt x="3684" y="1882"/>
                    <a:pt x="3750" y="1975"/>
                  </a:cubicBezTo>
                  <a:cubicBezTo>
                    <a:pt x="3727" y="3144"/>
                    <a:pt x="3048" y="4671"/>
                    <a:pt x="2721" y="4588"/>
                  </a:cubicBezTo>
                  <a:cubicBezTo>
                    <a:pt x="2558" y="4545"/>
                    <a:pt x="2596" y="4242"/>
                    <a:pt x="2637" y="3938"/>
                  </a:cubicBezTo>
                  <a:cubicBezTo>
                    <a:pt x="2671" y="3682"/>
                    <a:pt x="2767" y="3400"/>
                    <a:pt x="2789" y="3312"/>
                  </a:cubicBezTo>
                  <a:cubicBezTo>
                    <a:pt x="2870" y="2989"/>
                    <a:pt x="2471" y="2934"/>
                    <a:pt x="2344" y="3180"/>
                  </a:cubicBezTo>
                  <a:cubicBezTo>
                    <a:pt x="2191" y="3477"/>
                    <a:pt x="2072" y="3844"/>
                    <a:pt x="1897" y="4130"/>
                  </a:cubicBezTo>
                  <a:cubicBezTo>
                    <a:pt x="1628" y="4577"/>
                    <a:pt x="1350" y="4905"/>
                    <a:pt x="1117" y="4803"/>
                  </a:cubicBezTo>
                  <a:cubicBezTo>
                    <a:pt x="846" y="4685"/>
                    <a:pt x="1007" y="4004"/>
                    <a:pt x="1390" y="3389"/>
                  </a:cubicBezTo>
                  <a:cubicBezTo>
                    <a:pt x="1743" y="2823"/>
                    <a:pt x="2071" y="2662"/>
                    <a:pt x="2263" y="2652"/>
                  </a:cubicBezTo>
                  <a:cubicBezTo>
                    <a:pt x="2518" y="2638"/>
                    <a:pt x="2582" y="2823"/>
                    <a:pt x="2701" y="2779"/>
                  </a:cubicBezTo>
                  <a:cubicBezTo>
                    <a:pt x="2839" y="2730"/>
                    <a:pt x="2823" y="2412"/>
                    <a:pt x="2504" y="2281"/>
                  </a:cubicBezTo>
                  <a:cubicBezTo>
                    <a:pt x="1917" y="2041"/>
                    <a:pt x="1009" y="2690"/>
                    <a:pt x="569" y="3564"/>
                  </a:cubicBezTo>
                  <a:cubicBezTo>
                    <a:pt x="92" y="4512"/>
                    <a:pt x="0" y="5743"/>
                    <a:pt x="546" y="5934"/>
                  </a:cubicBezTo>
                  <a:cubicBezTo>
                    <a:pt x="1003" y="6096"/>
                    <a:pt x="1605" y="5357"/>
                    <a:pt x="1841" y="4848"/>
                  </a:cubicBezTo>
                  <a:cubicBezTo>
                    <a:pt x="1854" y="5120"/>
                    <a:pt x="1924" y="5511"/>
                    <a:pt x="2281" y="5566"/>
                  </a:cubicBezTo>
                  <a:cubicBezTo>
                    <a:pt x="2940" y="5669"/>
                    <a:pt x="3948" y="3725"/>
                    <a:pt x="4028" y="2206"/>
                  </a:cubicBezTo>
                  <a:cubicBezTo>
                    <a:pt x="4324" y="2445"/>
                    <a:pt x="5357" y="2398"/>
                    <a:pt x="6038" y="2093"/>
                  </a:cubicBezTo>
                  <a:cubicBezTo>
                    <a:pt x="5460" y="2764"/>
                    <a:pt x="4062" y="4098"/>
                    <a:pt x="3818" y="4451"/>
                  </a:cubicBezTo>
                  <a:cubicBezTo>
                    <a:pt x="3574" y="4804"/>
                    <a:pt x="3476" y="5028"/>
                    <a:pt x="3662" y="5160"/>
                  </a:cubicBezTo>
                  <a:cubicBezTo>
                    <a:pt x="3803" y="5260"/>
                    <a:pt x="3897" y="5125"/>
                    <a:pt x="4046" y="4979"/>
                  </a:cubicBezTo>
                  <a:cubicBezTo>
                    <a:pt x="4730" y="4311"/>
                    <a:pt x="5043" y="4637"/>
                    <a:pt x="5541" y="4709"/>
                  </a:cubicBezTo>
                  <a:cubicBezTo>
                    <a:pt x="5936" y="4767"/>
                    <a:pt x="6607" y="4679"/>
                    <a:pt x="6943" y="3936"/>
                  </a:cubicBezTo>
                  <a:cubicBezTo>
                    <a:pt x="7154" y="4219"/>
                    <a:pt x="7519" y="4308"/>
                    <a:pt x="7813" y="4314"/>
                  </a:cubicBezTo>
                  <a:cubicBezTo>
                    <a:pt x="8924" y="4331"/>
                    <a:pt x="10162" y="2804"/>
                    <a:pt x="10525" y="1055"/>
                  </a:cubicBezTo>
                  <a:cubicBezTo>
                    <a:pt x="10945" y="1254"/>
                    <a:pt x="10774" y="1724"/>
                    <a:pt x="10657" y="2235"/>
                  </a:cubicBezTo>
                  <a:cubicBezTo>
                    <a:pt x="10525" y="2807"/>
                    <a:pt x="10550" y="3368"/>
                    <a:pt x="10909" y="3539"/>
                  </a:cubicBezTo>
                  <a:cubicBezTo>
                    <a:pt x="11724" y="3927"/>
                    <a:pt x="12533" y="2542"/>
                    <a:pt x="12581" y="1902"/>
                  </a:cubicBezTo>
                  <a:cubicBezTo>
                    <a:pt x="12588" y="1797"/>
                    <a:pt x="12564" y="1717"/>
                    <a:pt x="12517" y="1701"/>
                  </a:cubicBezTo>
                  <a:cubicBezTo>
                    <a:pt x="12463" y="1681"/>
                    <a:pt x="12414" y="1730"/>
                    <a:pt x="12386" y="1812"/>
                  </a:cubicBezTo>
                  <a:cubicBezTo>
                    <a:pt x="12244" y="2240"/>
                    <a:pt x="11822" y="2840"/>
                    <a:pt x="11500" y="2750"/>
                  </a:cubicBezTo>
                  <a:cubicBezTo>
                    <a:pt x="11097" y="2638"/>
                    <a:pt x="11484" y="1762"/>
                    <a:pt x="11387" y="1219"/>
                  </a:cubicBezTo>
                  <a:cubicBezTo>
                    <a:pt x="11311" y="800"/>
                    <a:pt x="10894" y="652"/>
                    <a:pt x="10665" y="468"/>
                  </a:cubicBezTo>
                  <a:cubicBezTo>
                    <a:pt x="10668" y="91"/>
                    <a:pt x="10444" y="0"/>
                    <a:pt x="10406" y="227"/>
                  </a:cubicBezTo>
                  <a:cubicBezTo>
                    <a:pt x="9991" y="2763"/>
                    <a:pt x="8674" y="3863"/>
                    <a:pt x="7936" y="3603"/>
                  </a:cubicBezTo>
                  <a:cubicBezTo>
                    <a:pt x="7441" y="3427"/>
                    <a:pt x="7550" y="2645"/>
                    <a:pt x="7761" y="2121"/>
                  </a:cubicBezTo>
                  <a:cubicBezTo>
                    <a:pt x="8003" y="1521"/>
                    <a:pt x="8495" y="1150"/>
                    <a:pt x="8696" y="1332"/>
                  </a:cubicBezTo>
                  <a:cubicBezTo>
                    <a:pt x="8910" y="1527"/>
                    <a:pt x="8567" y="2293"/>
                    <a:pt x="8034" y="2470"/>
                  </a:cubicBezTo>
                  <a:cubicBezTo>
                    <a:pt x="7904" y="2513"/>
                    <a:pt x="7890" y="2580"/>
                    <a:pt x="7904" y="2625"/>
                  </a:cubicBezTo>
                  <a:cubicBezTo>
                    <a:pt x="7924" y="2688"/>
                    <a:pt x="8020" y="2722"/>
                    <a:pt x="8147" y="2701"/>
                  </a:cubicBezTo>
                  <a:cubicBezTo>
                    <a:pt x="9272" y="2522"/>
                    <a:pt x="9854" y="1297"/>
                    <a:pt x="9351" y="8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2985905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Warm elem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7956376" cy="5143500"/>
          </a:xfrm>
          <a:prstGeom prst="rect">
            <a:avLst/>
          </a:prstGeom>
        </p:spPr>
      </p:pic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432000" y="1116000"/>
            <a:ext cx="7553553" cy="3600000"/>
          </a:xfrm>
        </p:spPr>
        <p:txBody>
          <a:bodyPr>
            <a:normAutofit/>
          </a:bodyPr>
          <a:lstStyle>
            <a:lvl1pPr>
              <a:buClr>
                <a:schemeClr val="tx1"/>
              </a:buClr>
              <a:defRPr/>
            </a:lvl1pPr>
            <a:lvl2pPr>
              <a:buClr>
                <a:schemeClr val="tx1"/>
              </a:buClr>
              <a:defRPr/>
            </a:lvl2pPr>
            <a:lvl3pPr>
              <a:buClr>
                <a:schemeClr val="tx1"/>
              </a:buClr>
              <a:defRPr/>
            </a:lvl3pPr>
            <a:lvl4pPr>
              <a:buClr>
                <a:schemeClr val="tx1"/>
              </a:buClr>
              <a:defRPr sz="1400"/>
            </a:lvl4pPr>
            <a:lvl5pPr>
              <a:buClr>
                <a:schemeClr val="tx1"/>
              </a:buCl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5.6.2024</a:t>
            </a:fld>
            <a:endParaRPr lang="fi-FI" dirty="0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 dirty="0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7C0F944-824F-C942-A014-2AC3265FD6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7956376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3612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D2D0F1F-7BA6-CB08-4AE2-1A5AEFE5E1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31930726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395" imgH="394" progId="TCLayout.ActiveDocument.1">
                  <p:embed/>
                </p:oleObj>
              </mc:Choice>
              <mc:Fallback>
                <p:oleObj name="think-cell Slide" r:id="rId2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48" name="Rectangle 29"/>
          <p:cNvSpPr>
            <a:spLocks noGrp="1" noChangeArrowheads="1"/>
          </p:cNvSpPr>
          <p:nvPr>
            <p:ph type="title"/>
          </p:nvPr>
        </p:nvSpPr>
        <p:spPr bwMode="auto">
          <a:xfrm>
            <a:off x="432000" y="144000"/>
            <a:ext cx="7553553" cy="827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/>
              <a:t>Click to edit Master title style</a:t>
            </a:r>
            <a:endParaRPr lang="en-US" altLang="zh-CN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2000" y="4840004"/>
            <a:ext cx="400920" cy="108011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700">
                <a:solidFill>
                  <a:schemeClr val="tx2"/>
                </a:solidFill>
                <a:ea typeface="MS PGothic" pitchFamily="34" charset="-128"/>
              </a:defRPr>
            </a:lvl1pPr>
          </a:lstStyle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2000" y="1124873"/>
            <a:ext cx="7553553" cy="360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12" name="Rectangle 1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20000" y="4839606"/>
            <a:ext cx="1063503" cy="10834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700" smtClean="0">
                <a:solidFill>
                  <a:schemeClr val="tx2"/>
                </a:solidFill>
                <a:ea typeface="MS PGothic" pitchFamily="34" charset="-128"/>
              </a:defRPr>
            </a:lvl1pPr>
          </a:lstStyle>
          <a:p>
            <a:pPr>
              <a:defRPr/>
            </a:pPr>
            <a:fld id="{F4ABB726-05D1-4F68-9AE2-B0609B3A0FA5}" type="datetime1">
              <a:rPr lang="fi-FI" smtClean="0"/>
              <a:t>5.6.2024</a:t>
            </a:fld>
            <a:endParaRPr lang="fi-FI" dirty="0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3"/>
          </p:nvPr>
        </p:nvSpPr>
        <p:spPr>
          <a:xfrm>
            <a:off x="5828400" y="4838400"/>
            <a:ext cx="3099600" cy="108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None/>
              <a:defRPr sz="700">
                <a:solidFill>
                  <a:schemeClr val="tx2"/>
                </a:solidFill>
              </a:defRPr>
            </a:lvl1pPr>
          </a:lstStyle>
          <a:p>
            <a:r>
              <a:rPr lang="en-US"/>
              <a:t>Company confidential © Fazer. All rights reserved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9527922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2" r:id="rId1"/>
    <p:sldLayoutId id="2147483863" r:id="rId2"/>
    <p:sldLayoutId id="2147483864" r:id="rId3"/>
    <p:sldLayoutId id="2147483865" r:id="rId4"/>
    <p:sldLayoutId id="2147483866" r:id="rId5"/>
    <p:sldLayoutId id="2147483867" r:id="rId6"/>
    <p:sldLayoutId id="2147483868" r:id="rId7"/>
    <p:sldLayoutId id="2147483869" r:id="rId8"/>
    <p:sldLayoutId id="2147483870" r:id="rId9"/>
    <p:sldLayoutId id="2147483871" r:id="rId10"/>
    <p:sldLayoutId id="2147483872" r:id="rId11"/>
    <p:sldLayoutId id="2147483873" r:id="rId12"/>
    <p:sldLayoutId id="2147483874" r:id="rId13"/>
    <p:sldLayoutId id="2147483875" r:id="rId14"/>
    <p:sldLayoutId id="2147483876" r:id="rId15"/>
    <p:sldLayoutId id="2147483877" r:id="rId16"/>
    <p:sldLayoutId id="2147483878" r:id="rId17"/>
    <p:sldLayoutId id="2147483879" r:id="rId18"/>
    <p:sldLayoutId id="2147483880" r:id="rId19"/>
    <p:sldLayoutId id="2147483881" r:id="rId20"/>
    <p:sldLayoutId id="2147483882" r:id="rId21"/>
  </p:sldLayoutIdLst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  <p:hf hdr="0"/>
  <p:txStyles>
    <p:titleStyle>
      <a:lvl1pPr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ea typeface="宋体" pitchFamily="2" charset="-122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ea typeface="宋体" pitchFamily="2" charset="-122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ea typeface="宋体" pitchFamily="2" charset="-122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ea typeface="宋体" pitchFamily="2" charset="-122"/>
        </a:defRPr>
      </a:lvl5pPr>
      <a:lvl6pPr marL="389582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BB6D06"/>
          </a:solidFill>
          <a:latin typeface="Arial" charset="0"/>
          <a:ea typeface="宋体" pitchFamily="2" charset="-122"/>
        </a:defRPr>
      </a:lvl6pPr>
      <a:lvl7pPr marL="779163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BB6D06"/>
          </a:solidFill>
          <a:latin typeface="Arial" charset="0"/>
          <a:ea typeface="宋体" pitchFamily="2" charset="-122"/>
        </a:defRPr>
      </a:lvl7pPr>
      <a:lvl8pPr marL="1168745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BB6D06"/>
          </a:solidFill>
          <a:latin typeface="Arial" charset="0"/>
          <a:ea typeface="宋体" pitchFamily="2" charset="-122"/>
        </a:defRPr>
      </a:lvl8pPr>
      <a:lvl9pPr marL="1558326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BB6D06"/>
          </a:solidFill>
          <a:latin typeface="Arial" charset="0"/>
          <a:ea typeface="宋体" pitchFamily="2" charset="-122"/>
        </a:defRPr>
      </a:lvl9pPr>
    </p:titleStyle>
    <p:bodyStyle>
      <a:lvl1pPr marL="227256" indent="-227256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9923" indent="-232667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Char char="–"/>
        <a:defRPr sz="1600">
          <a:solidFill>
            <a:schemeClr val="tx1"/>
          </a:solidFill>
          <a:latin typeface="+mn-lt"/>
          <a:ea typeface="+mn-ea"/>
        </a:defRPr>
      </a:lvl2pPr>
      <a:lvl3pPr marL="687179" indent="-227256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Arial" pitchFamily="34" charset="0"/>
        <a:buChar char="•"/>
        <a:defRPr sz="1400">
          <a:solidFill>
            <a:schemeClr val="tx1"/>
          </a:solidFill>
          <a:latin typeface="+mn-lt"/>
          <a:ea typeface="+mn-ea"/>
        </a:defRPr>
      </a:lvl3pPr>
      <a:lvl4pPr marL="913082" indent="-225903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Char char="•"/>
        <a:defRPr sz="1200">
          <a:solidFill>
            <a:schemeClr val="tx1"/>
          </a:solidFill>
          <a:latin typeface="+mn-lt"/>
          <a:ea typeface="+mn-ea"/>
        </a:defRPr>
      </a:lvl4pPr>
      <a:lvl5pPr marL="1147101" indent="-23402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Arial" pitchFamily="34" charset="0"/>
        <a:buChar char="•"/>
        <a:defRPr sz="1000">
          <a:solidFill>
            <a:schemeClr val="tx1"/>
          </a:solidFill>
          <a:latin typeface="+mn-lt"/>
          <a:ea typeface="+mn-ea"/>
        </a:defRPr>
      </a:lvl5pPr>
      <a:lvl6pPr marL="2142698" indent="-194791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Char char="»"/>
        <a:defRPr>
          <a:solidFill>
            <a:schemeClr val="tx2"/>
          </a:solidFill>
          <a:latin typeface="+mn-lt"/>
          <a:ea typeface="+mn-ea"/>
        </a:defRPr>
      </a:lvl6pPr>
      <a:lvl7pPr marL="2532280" indent="-194791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Char char="»"/>
        <a:defRPr>
          <a:solidFill>
            <a:schemeClr val="tx2"/>
          </a:solidFill>
          <a:latin typeface="+mn-lt"/>
          <a:ea typeface="+mn-ea"/>
        </a:defRPr>
      </a:lvl7pPr>
      <a:lvl8pPr marL="2921861" indent="-194791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Char char="»"/>
        <a:defRPr>
          <a:solidFill>
            <a:schemeClr val="tx2"/>
          </a:solidFill>
          <a:latin typeface="+mn-lt"/>
          <a:ea typeface="+mn-ea"/>
        </a:defRPr>
      </a:lvl8pPr>
      <a:lvl9pPr marL="3311443" indent="-194791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Char char="»"/>
        <a:defRPr>
          <a:solidFill>
            <a:schemeClr val="tx2"/>
          </a:solidFill>
          <a:latin typeface="+mn-lt"/>
          <a:ea typeface="+mn-ea"/>
        </a:defRPr>
      </a:lvl9pPr>
    </p:bodyStyle>
    <p:otherStyle>
      <a:defPPr>
        <a:defRPr lang="fi-FI"/>
      </a:defPPr>
      <a:lvl1pPr marL="0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82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163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745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326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908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489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7071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652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.x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15.jpeg"/><Relationship Id="rId5" Type="http://schemas.openxmlformats.org/officeDocument/2006/relationships/image" Target="../media/image14.jpeg"/><Relationship Id="rId4" Type="http://schemas.openxmlformats.org/officeDocument/2006/relationships/image" Target="../media/image1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18.png"/><Relationship Id="rId2" Type="http://schemas.openxmlformats.org/officeDocument/2006/relationships/hyperlink" Target="https://kartonkikilpailu.fi/aineistoa/materiaalpankki/" TargetMode="Externa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17.jpeg"/><Relationship Id="rId5" Type="http://schemas.openxmlformats.org/officeDocument/2006/relationships/image" Target="../media/image16.jpeg"/><Relationship Id="rId4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13.png"/><Relationship Id="rId5" Type="http://schemas.openxmlformats.org/officeDocument/2006/relationships/image" Target="../media/image9.png"/><Relationship Id="rId4" Type="http://schemas.openxmlformats.org/officeDocument/2006/relationships/image" Target="../media/image21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DDA3709-D04C-3FB2-FAC6-F86276135B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carton of coffee and a glass of coffee&#10;&#10;Description automatically generated">
            <a:extLst>
              <a:ext uri="{FF2B5EF4-FFF2-40B4-BE49-F238E27FC236}">
                <a16:creationId xmlns:a16="http://schemas.microsoft.com/office/drawing/2014/main" id="{B12603B9-D457-1A87-ABAC-BCA62728491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3779418" cy="5143500"/>
          </a:xfrm>
          <a:prstGeom prst="rect">
            <a:avLst/>
          </a:prstGeom>
        </p:spPr>
      </p:pic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75AE691E-2F25-8920-7C85-553914C491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5AE691E-2F25-8920-7C85-553914C491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C9E9690-401E-AC69-BA4E-08D3327C7292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020272" y="3363838"/>
            <a:ext cx="1784909" cy="344050"/>
          </a:xfrm>
        </p:spPr>
        <p:txBody>
          <a:bodyPr>
            <a:noAutofit/>
          </a:bodyPr>
          <a:lstStyle/>
          <a:p>
            <a:pPr marL="0" indent="0" algn="r">
              <a:buNone/>
            </a:pPr>
            <a:r>
              <a:rPr lang="en-GB" dirty="0" err="1"/>
              <a:t>Yhteistyössä</a:t>
            </a:r>
            <a:r>
              <a:rPr lang="en-GB" dirty="0"/>
              <a:t>:</a:t>
            </a:r>
            <a:endParaRPr lang="fi-FI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3E5012-6954-3FA9-7DF2-F9A220FC6B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9418" y="1722288"/>
            <a:ext cx="5364582" cy="827999"/>
          </a:xfrm>
        </p:spPr>
        <p:txBody>
          <a:bodyPr vert="horz"/>
          <a:lstStyle/>
          <a:p>
            <a:pPr algn="ctr"/>
            <a:r>
              <a:rPr lang="en-GB" dirty="0" err="1"/>
              <a:t>Haastetehtävä</a:t>
            </a:r>
            <a:r>
              <a:rPr lang="en-GB" dirty="0"/>
              <a:t>: </a:t>
            </a:r>
            <a:r>
              <a:rPr lang="en-GB" dirty="0" err="1"/>
              <a:t>Kerro</a:t>
            </a:r>
            <a:r>
              <a:rPr lang="en-GB" dirty="0"/>
              <a:t> </a:t>
            </a:r>
            <a:r>
              <a:rPr lang="en-GB" dirty="0" err="1"/>
              <a:t>sadalle</a:t>
            </a:r>
            <a:endParaRPr lang="fi-FI" dirty="0"/>
          </a:p>
        </p:txBody>
      </p:sp>
      <p:pic>
        <p:nvPicPr>
          <p:cNvPr id="6" name="Bildobjekt 5">
            <a:extLst>
              <a:ext uri="{FF2B5EF4-FFF2-40B4-BE49-F238E27FC236}">
                <a16:creationId xmlns:a16="http://schemas.microsoft.com/office/drawing/2014/main" id="{0B2F04E8-B302-86D7-FFE9-3269FC3583C3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512" y="195486"/>
            <a:ext cx="1152128" cy="317987"/>
          </a:xfrm>
          <a:prstGeom prst="rect">
            <a:avLst/>
          </a:prstGeom>
        </p:spPr>
      </p:pic>
      <p:pic>
        <p:nvPicPr>
          <p:cNvPr id="13" name="Picture 12" descr="A picture containing graphics, graphic design, font, logo&#10;&#10;Description automatically generated">
            <a:extLst>
              <a:ext uri="{FF2B5EF4-FFF2-40B4-BE49-F238E27FC236}">
                <a16:creationId xmlns:a16="http://schemas.microsoft.com/office/drawing/2014/main" id="{D14372DF-F9FB-A010-BD73-88CB8336D2C4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70951" y="3825964"/>
            <a:ext cx="1037667" cy="12288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5074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 descr="En bild som visar klädsel, person, Människoansikte, utomhus&#10;&#10;Automatiskt genererad beskrivning">
            <a:extLst>
              <a:ext uri="{FF2B5EF4-FFF2-40B4-BE49-F238E27FC236}">
                <a16:creationId xmlns:a16="http://schemas.microsoft.com/office/drawing/2014/main" id="{05190A9E-F353-E677-99C3-B386D029B11C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3429000" cy="5143500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482F5C4A-E783-4365-8E29-D68FD28D34B1}"/>
              </a:ext>
            </a:extLst>
          </p:cNvPr>
          <p:cNvSpPr/>
          <p:nvPr/>
        </p:nvSpPr>
        <p:spPr bwMode="auto">
          <a:xfrm>
            <a:off x="4139952" y="1131590"/>
            <a:ext cx="4485025" cy="333690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algn="l">
              <a:buNone/>
            </a:pPr>
            <a:r>
              <a:rPr lang="sv-SE" dirty="0"/>
              <a:t>Tässä </a:t>
            </a:r>
            <a:r>
              <a:rPr lang="sv-SE" dirty="0" err="1"/>
              <a:t>tehtävässä</a:t>
            </a:r>
            <a:r>
              <a:rPr lang="sv-SE" dirty="0"/>
              <a:t> </a:t>
            </a:r>
            <a:r>
              <a:rPr lang="sv-SE" dirty="0" err="1"/>
              <a:t>levitetään</a:t>
            </a:r>
            <a:r>
              <a:rPr lang="sv-SE" dirty="0"/>
              <a:t> </a:t>
            </a:r>
            <a:r>
              <a:rPr lang="sv-SE" dirty="0" err="1"/>
              <a:t>eri</a:t>
            </a:r>
            <a:r>
              <a:rPr lang="sv-SE" dirty="0"/>
              <a:t> </a:t>
            </a:r>
            <a:r>
              <a:rPr lang="sv-SE" dirty="0" err="1"/>
              <a:t>tavoin</a:t>
            </a:r>
            <a:r>
              <a:rPr lang="sv-SE" dirty="0"/>
              <a:t> </a:t>
            </a:r>
            <a:r>
              <a:rPr lang="sv-SE" dirty="0" err="1"/>
              <a:t>tietoa</a:t>
            </a:r>
            <a:r>
              <a:rPr lang="sv-SE" dirty="0"/>
              <a:t> </a:t>
            </a:r>
            <a:r>
              <a:rPr lang="sv-SE" dirty="0" err="1"/>
              <a:t>kartonkipakkausten</a:t>
            </a:r>
            <a:r>
              <a:rPr lang="sv-SE" dirty="0"/>
              <a:t> </a:t>
            </a:r>
            <a:r>
              <a:rPr lang="sv-SE" dirty="0" err="1"/>
              <a:t>kierrättämisestä</a:t>
            </a:r>
            <a:r>
              <a:rPr lang="sv-SE" dirty="0"/>
              <a:t>. </a:t>
            </a:r>
          </a:p>
          <a:p>
            <a:pPr algn="l">
              <a:buNone/>
            </a:pPr>
            <a:endParaRPr lang="sv-SE" dirty="0"/>
          </a:p>
          <a:p>
            <a:pPr algn="l">
              <a:buNone/>
            </a:pPr>
            <a:r>
              <a:rPr lang="sv-SE" dirty="0" err="1"/>
              <a:t>Tyhjä</a:t>
            </a:r>
            <a:r>
              <a:rPr lang="sv-SE" dirty="0"/>
              <a:t> </a:t>
            </a:r>
            <a:r>
              <a:rPr lang="sv-SE" dirty="0" err="1"/>
              <a:t>juomakartonki</a:t>
            </a:r>
            <a:r>
              <a:rPr lang="sv-SE" dirty="0"/>
              <a:t> </a:t>
            </a:r>
            <a:r>
              <a:rPr lang="sv-SE" dirty="0" err="1"/>
              <a:t>ei</a:t>
            </a:r>
            <a:r>
              <a:rPr lang="sv-SE" dirty="0"/>
              <a:t> </a:t>
            </a:r>
            <a:r>
              <a:rPr lang="sv-SE" dirty="0" err="1"/>
              <a:t>ole</a:t>
            </a:r>
            <a:r>
              <a:rPr lang="sv-SE" dirty="0"/>
              <a:t> </a:t>
            </a:r>
            <a:r>
              <a:rPr lang="sv-SE" dirty="0" err="1"/>
              <a:t>roska</a:t>
            </a:r>
            <a:r>
              <a:rPr lang="sv-SE" dirty="0"/>
              <a:t>, </a:t>
            </a:r>
            <a:r>
              <a:rPr lang="sv-SE" dirty="0" err="1"/>
              <a:t>vaan</a:t>
            </a:r>
            <a:r>
              <a:rPr lang="sv-SE" dirty="0"/>
              <a:t> </a:t>
            </a:r>
            <a:r>
              <a:rPr lang="sv-SE" dirty="0" err="1"/>
              <a:t>arvokas</a:t>
            </a:r>
            <a:r>
              <a:rPr lang="sv-SE" dirty="0"/>
              <a:t> </a:t>
            </a:r>
            <a:r>
              <a:rPr lang="sv-SE" dirty="0" err="1"/>
              <a:t>raaka-aine</a:t>
            </a:r>
            <a:r>
              <a:rPr lang="sv-SE" dirty="0"/>
              <a:t> </a:t>
            </a:r>
            <a:r>
              <a:rPr lang="sv-SE" dirty="0" err="1"/>
              <a:t>uusille</a:t>
            </a:r>
            <a:r>
              <a:rPr lang="sv-SE" dirty="0"/>
              <a:t> </a:t>
            </a:r>
            <a:r>
              <a:rPr lang="sv-SE" dirty="0" err="1"/>
              <a:t>tuotteille</a:t>
            </a:r>
            <a:r>
              <a:rPr lang="sv-SE" dirty="0"/>
              <a:t>. </a:t>
            </a:r>
            <a:r>
              <a:rPr lang="sv-SE" dirty="0" err="1"/>
              <a:t>Kierrättämällä</a:t>
            </a:r>
            <a:r>
              <a:rPr lang="sv-SE" dirty="0"/>
              <a:t> </a:t>
            </a:r>
            <a:r>
              <a:rPr lang="sv-SE" dirty="0" err="1"/>
              <a:t>voidaan</a:t>
            </a:r>
            <a:r>
              <a:rPr lang="sv-SE" dirty="0"/>
              <a:t> </a:t>
            </a:r>
            <a:r>
              <a:rPr lang="sv-SE" dirty="0" err="1"/>
              <a:t>säästää</a:t>
            </a:r>
            <a:r>
              <a:rPr lang="sv-SE" dirty="0"/>
              <a:t> </a:t>
            </a:r>
            <a:r>
              <a:rPr lang="sv-SE" dirty="0" err="1"/>
              <a:t>luonnonvaroja</a:t>
            </a:r>
            <a:r>
              <a:rPr lang="sv-SE" dirty="0"/>
              <a:t>, </a:t>
            </a:r>
            <a:r>
              <a:rPr lang="sv-SE" dirty="0" err="1"/>
              <a:t>vähentää</a:t>
            </a:r>
            <a:r>
              <a:rPr lang="sv-SE" dirty="0"/>
              <a:t> </a:t>
            </a:r>
            <a:r>
              <a:rPr lang="sv-SE" dirty="0" err="1"/>
              <a:t>energiankulutusta</a:t>
            </a:r>
            <a:r>
              <a:rPr lang="sv-SE" dirty="0"/>
              <a:t> ja </a:t>
            </a:r>
            <a:r>
              <a:rPr lang="sv-SE" dirty="0" err="1"/>
              <a:t>pienentää</a:t>
            </a:r>
            <a:r>
              <a:rPr lang="sv-SE" dirty="0"/>
              <a:t>  </a:t>
            </a:r>
            <a:r>
              <a:rPr lang="sv-SE" dirty="0" err="1"/>
              <a:t>ympäristökuormitusta</a:t>
            </a:r>
            <a:r>
              <a:rPr lang="sv-SE" dirty="0"/>
              <a:t>. </a:t>
            </a:r>
          </a:p>
          <a:p>
            <a:pPr algn="l">
              <a:buNone/>
            </a:pPr>
            <a:endParaRPr lang="sv-SE" dirty="0"/>
          </a:p>
          <a:p>
            <a:pPr algn="l">
              <a:buNone/>
            </a:pPr>
            <a:r>
              <a:rPr lang="sv-SE" dirty="0" err="1"/>
              <a:t>Olisi</a:t>
            </a:r>
            <a:r>
              <a:rPr lang="sv-SE" dirty="0"/>
              <a:t> </a:t>
            </a:r>
            <a:r>
              <a:rPr lang="sv-SE" dirty="0" err="1"/>
              <a:t>hienoa</a:t>
            </a:r>
            <a:r>
              <a:rPr lang="sv-SE" dirty="0"/>
              <a:t>, jos </a:t>
            </a:r>
            <a:r>
              <a:rPr lang="sv-SE" dirty="0" err="1"/>
              <a:t>kaikki</a:t>
            </a:r>
            <a:r>
              <a:rPr lang="sv-SE" dirty="0"/>
              <a:t> </a:t>
            </a:r>
            <a:r>
              <a:rPr lang="sv-SE" dirty="0" err="1"/>
              <a:t>ymmärtäisivät</a:t>
            </a:r>
            <a:r>
              <a:rPr lang="sv-SE" dirty="0"/>
              <a:t> </a:t>
            </a:r>
            <a:r>
              <a:rPr lang="sv-SE" dirty="0" err="1"/>
              <a:t>tämän</a:t>
            </a:r>
            <a:r>
              <a:rPr lang="sv-SE" dirty="0"/>
              <a:t>! </a:t>
            </a:r>
            <a:endParaRPr lang="sv-SE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Bildobjekt 5">
            <a:extLst>
              <a:ext uri="{FF2B5EF4-FFF2-40B4-BE49-F238E27FC236}">
                <a16:creationId xmlns:a16="http://schemas.microsoft.com/office/drawing/2014/main" id="{81EF7CBC-4557-F746-9A79-C1DCACC43973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5536" y="4659982"/>
            <a:ext cx="1152128" cy="3179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26328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ktangel 12"/>
          <p:cNvSpPr/>
          <p:nvPr/>
        </p:nvSpPr>
        <p:spPr bwMode="auto">
          <a:xfrm>
            <a:off x="6153838" y="1071610"/>
            <a:ext cx="1712528" cy="2596507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algn="l" defTabSz="685800" eaLnBrk="0" hangingPunct="0">
              <a:lnSpc>
                <a:spcPct val="100000"/>
              </a:lnSpc>
              <a:spcBef>
                <a:spcPct val="0"/>
              </a:spcBef>
              <a:buClrTx/>
              <a:buNone/>
            </a:pPr>
            <a:endParaRPr lang="sv-SE">
              <a:solidFill>
                <a:schemeClr val="tx1"/>
              </a:solidFill>
              <a:latin typeface="Times" charset="0"/>
            </a:endParaRP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251520" y="1571937"/>
            <a:ext cx="4266475" cy="3888433"/>
          </a:xfrm>
        </p:spPr>
        <p:txBody>
          <a:bodyPr/>
          <a:lstStyle/>
          <a:p>
            <a:pPr marL="0" indent="0">
              <a:buNone/>
            </a:pPr>
            <a:r>
              <a:rPr lang="sv-SE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Miettikää</a:t>
            </a:r>
            <a:r>
              <a:rPr lang="sv-SE" sz="1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luokassa</a:t>
            </a:r>
            <a:r>
              <a:rPr lang="sv-SE" sz="1600" b="1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sv-SE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millä</a:t>
            </a:r>
            <a:r>
              <a:rPr lang="sv-SE" sz="1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tavoin</a:t>
            </a:r>
            <a:r>
              <a:rPr lang="sv-SE" sz="1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voisitte</a:t>
            </a:r>
            <a:r>
              <a:rPr lang="sv-SE" sz="1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levittää</a:t>
            </a:r>
            <a:r>
              <a:rPr lang="sv-SE" sz="1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tietoa</a:t>
            </a:r>
            <a:r>
              <a:rPr lang="sv-SE" sz="1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mahdollisimman</a:t>
            </a:r>
            <a:r>
              <a:rPr lang="sv-SE" sz="1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tehokkaalla</a:t>
            </a:r>
            <a:r>
              <a:rPr lang="sv-SE" sz="1600" b="1" dirty="0"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  <a:r>
              <a:rPr lang="sv-SE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tavalla</a:t>
            </a:r>
            <a:endParaRPr lang="sv-SE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sv-SE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Voitte</a:t>
            </a:r>
            <a:r>
              <a:rPr lang="sv-SE" sz="1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esimerkiksi</a:t>
            </a:r>
            <a:r>
              <a:rPr lang="sv-SE" sz="1400" b="1" dirty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r>
              <a:rPr lang="sv-SE" sz="1200" dirty="0" err="1">
                <a:latin typeface="Arial" panose="020B0604020202020204" pitchFamily="34" charset="0"/>
                <a:cs typeface="Arial" panose="020B0604020202020204" pitchFamily="34" charset="0"/>
              </a:rPr>
              <a:t>Kertoa</a:t>
            </a:r>
            <a:r>
              <a:rPr lang="sv-SE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200" dirty="0" err="1">
                <a:latin typeface="Arial" panose="020B0604020202020204" pitchFamily="34" charset="0"/>
                <a:cs typeface="Arial" panose="020B0604020202020204" pitchFamily="34" charset="0"/>
              </a:rPr>
              <a:t>kierrättämisestä</a:t>
            </a:r>
            <a:r>
              <a:rPr lang="sv-SE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200" dirty="0" err="1">
                <a:latin typeface="Arial" panose="020B0604020202020204" pitchFamily="34" charset="0"/>
                <a:cs typeface="Arial" panose="020B0604020202020204" pitchFamily="34" charset="0"/>
              </a:rPr>
              <a:t>erilaisilla</a:t>
            </a:r>
            <a:r>
              <a:rPr lang="sv-SE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200" dirty="0" err="1">
                <a:latin typeface="Arial" panose="020B0604020202020204" pitchFamily="34" charset="0"/>
                <a:cs typeface="Arial" panose="020B0604020202020204" pitchFamily="34" charset="0"/>
              </a:rPr>
              <a:t>viesteillä</a:t>
            </a:r>
            <a:r>
              <a:rPr lang="sv-SE" sz="1200" dirty="0">
                <a:latin typeface="Arial" panose="020B0604020202020204" pitchFamily="34" charset="0"/>
                <a:cs typeface="Arial" panose="020B0604020202020204" pitchFamily="34" charset="0"/>
              </a:rPr>
              <a:t> ja </a:t>
            </a:r>
            <a:r>
              <a:rPr lang="sv-SE" sz="1200" dirty="0" err="1">
                <a:latin typeface="Arial" panose="020B0604020202020204" pitchFamily="34" charset="0"/>
                <a:cs typeface="Arial" panose="020B0604020202020204" pitchFamily="34" charset="0"/>
              </a:rPr>
              <a:t>sanomilla</a:t>
            </a:r>
            <a:r>
              <a:rPr lang="sv-SE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200" dirty="0" err="1">
                <a:latin typeface="Arial" panose="020B0604020202020204" pitchFamily="34" charset="0"/>
                <a:cs typeface="Arial" panose="020B0604020202020204" pitchFamily="34" charset="0"/>
              </a:rPr>
              <a:t>piirtämällä</a:t>
            </a:r>
            <a:r>
              <a:rPr lang="sv-SE" sz="1200" dirty="0">
                <a:latin typeface="Arial" panose="020B0604020202020204" pitchFamily="34" charset="0"/>
                <a:cs typeface="Arial" panose="020B0604020202020204" pitchFamily="34" charset="0"/>
              </a:rPr>
              <a:t> ja/ tai </a:t>
            </a:r>
            <a:r>
              <a:rPr lang="sv-SE" sz="1200" dirty="0" err="1">
                <a:latin typeface="Arial" panose="020B0604020202020204" pitchFamily="34" charset="0"/>
                <a:cs typeface="Arial" panose="020B0604020202020204" pitchFamily="34" charset="0"/>
              </a:rPr>
              <a:t>kirjoittamalla</a:t>
            </a:r>
            <a:r>
              <a:rPr lang="sv-SE" sz="12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sv-SE" sz="1200" dirty="0" err="1">
                <a:latin typeface="Arial" panose="020B0604020202020204" pitchFamily="34" charset="0"/>
                <a:cs typeface="Arial" panose="020B0604020202020204" pitchFamily="34" charset="0"/>
              </a:rPr>
              <a:t>Käyttäkää</a:t>
            </a:r>
            <a:r>
              <a:rPr lang="sv-SE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200" dirty="0" err="1">
                <a:latin typeface="Arial" panose="020B0604020202020204" pitchFamily="34" charset="0"/>
                <a:cs typeface="Arial" panose="020B0604020202020204" pitchFamily="34" charset="0"/>
              </a:rPr>
              <a:t>mielellään</a:t>
            </a:r>
            <a:r>
              <a:rPr lang="sv-SE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200" dirty="0" err="1">
                <a:latin typeface="Arial" panose="020B0604020202020204" pitchFamily="34" charset="0"/>
                <a:cs typeface="Arial" panose="020B0604020202020204" pitchFamily="34" charset="0"/>
              </a:rPr>
              <a:t>kampanjan</a:t>
            </a:r>
            <a:r>
              <a:rPr lang="sv-SE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200" dirty="0" err="1">
                <a:latin typeface="Arial" panose="020B0604020202020204" pitchFamily="34" charset="0"/>
                <a:cs typeface="Arial" panose="020B0604020202020204" pitchFamily="34" charset="0"/>
              </a:rPr>
              <a:t>jakelukortteja</a:t>
            </a:r>
            <a:r>
              <a:rPr lang="sv-SE" sz="12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endParaRPr lang="sv-SE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70E2EDDB-24A0-EE49-96F4-3C5210B4B287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5536" y="4659982"/>
            <a:ext cx="1152128" cy="317987"/>
          </a:xfrm>
          <a:prstGeom prst="rect">
            <a:avLst/>
          </a:prstGeom>
        </p:spPr>
      </p:pic>
      <p:pic>
        <p:nvPicPr>
          <p:cNvPr id="5" name="Bildobjekt 4" descr="En bild som visar text, person&#10;&#10;Automatiskt genererad beskrivning">
            <a:extLst>
              <a:ext uri="{FF2B5EF4-FFF2-40B4-BE49-F238E27FC236}">
                <a16:creationId xmlns:a16="http://schemas.microsoft.com/office/drawing/2014/main" id="{257F4EFA-A5CA-36DF-2532-06F0CD7697D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338880">
            <a:off x="4681276" y="452160"/>
            <a:ext cx="3601044" cy="2398295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A3A9062F-B4DD-8E32-9B3E-FF946AC0FFDB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8454" y="4221252"/>
            <a:ext cx="640010" cy="756717"/>
          </a:xfrm>
          <a:prstGeom prst="rect">
            <a:avLst/>
          </a:prstGeom>
        </p:spPr>
      </p:pic>
      <p:pic>
        <p:nvPicPr>
          <p:cNvPr id="10" name="Bildobjekt 9" descr="En bild som visar text, inomhus, whiteboard, vägg&#10;&#10;Automatiskt genererad beskrivning">
            <a:extLst>
              <a:ext uri="{FF2B5EF4-FFF2-40B4-BE49-F238E27FC236}">
                <a16:creationId xmlns:a16="http://schemas.microsoft.com/office/drawing/2014/main" id="{11A1A86C-D9D0-25A6-7323-EB6731D65DFC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928968">
            <a:off x="6085864" y="3052060"/>
            <a:ext cx="2135332" cy="1601499"/>
          </a:xfrm>
          <a:prstGeom prst="rect">
            <a:avLst/>
          </a:prstGeom>
        </p:spPr>
      </p:pic>
      <p:pic>
        <p:nvPicPr>
          <p:cNvPr id="4" name="Bildobjekt 3">
            <a:extLst>
              <a:ext uri="{FF2B5EF4-FFF2-40B4-BE49-F238E27FC236}">
                <a16:creationId xmlns:a16="http://schemas.microsoft.com/office/drawing/2014/main" id="{24A489B0-C984-DE47-981B-DAA69A618DF4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21307139">
            <a:off x="4463324" y="2752297"/>
            <a:ext cx="1902080" cy="20163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12952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FFEEFB1E-A66D-FA45-8A06-61DE1C2721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7544" y="987574"/>
            <a:ext cx="4313141" cy="4333794"/>
          </a:xfrm>
        </p:spPr>
        <p:txBody>
          <a:bodyPr/>
          <a:lstStyle/>
          <a:p>
            <a:r>
              <a:rPr lang="sv-SE" sz="1600" dirty="0" err="1">
                <a:latin typeface="Arial" panose="020B0604020202020204" pitchFamily="34" charset="0"/>
                <a:cs typeface="Arial" panose="020B0604020202020204" pitchFamily="34" charset="0"/>
              </a:rPr>
              <a:t>Kortteja</a:t>
            </a:r>
            <a:r>
              <a:rPr lang="sv-SE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600" dirty="0" err="1">
                <a:latin typeface="Arial" panose="020B0604020202020204" pitchFamily="34" charset="0"/>
                <a:cs typeface="Arial" panose="020B0604020202020204" pitchFamily="34" charset="0"/>
              </a:rPr>
              <a:t>voi</a:t>
            </a:r>
            <a:r>
              <a:rPr lang="sv-SE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600" dirty="0" err="1">
                <a:latin typeface="Arial" panose="020B0604020202020204" pitchFamily="34" charset="0"/>
                <a:cs typeface="Arial" panose="020B0604020202020204" pitchFamily="34" charset="0"/>
              </a:rPr>
              <a:t>jakaa</a:t>
            </a:r>
            <a:r>
              <a:rPr lang="sv-SE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600" dirty="0" err="1">
                <a:latin typeface="Arial" panose="020B0604020202020204" pitchFamily="34" charset="0"/>
                <a:cs typeface="Arial" panose="020B0604020202020204" pitchFamily="34" charset="0"/>
              </a:rPr>
              <a:t>perheenjäsenille</a:t>
            </a:r>
            <a:r>
              <a:rPr lang="sv-SE" sz="1600" dirty="0">
                <a:latin typeface="Arial" panose="020B0604020202020204" pitchFamily="34" charset="0"/>
                <a:cs typeface="Arial" panose="020B0604020202020204" pitchFamily="34" charset="0"/>
              </a:rPr>
              <a:t> ja </a:t>
            </a:r>
            <a:r>
              <a:rPr lang="sv-SE" sz="1600" dirty="0" err="1">
                <a:latin typeface="Arial" panose="020B0604020202020204" pitchFamily="34" charset="0"/>
                <a:cs typeface="Arial" panose="020B0604020202020204" pitchFamily="34" charset="0"/>
              </a:rPr>
              <a:t>naapureille</a:t>
            </a:r>
            <a:r>
              <a:rPr lang="sv-SE" sz="16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r>
              <a:rPr lang="sv-SE" sz="1600" dirty="0" err="1">
                <a:latin typeface="Arial" panose="020B0604020202020204" pitchFamily="34" charset="0"/>
                <a:cs typeface="Arial" panose="020B0604020202020204" pitchFamily="34" charset="0"/>
              </a:rPr>
              <a:t>Tehkää</a:t>
            </a:r>
            <a:r>
              <a:rPr lang="sv-SE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600" dirty="0" err="1">
                <a:latin typeface="Arial" panose="020B0604020202020204" pitchFamily="34" charset="0"/>
                <a:cs typeface="Arial" panose="020B0604020202020204" pitchFamily="34" charset="0"/>
              </a:rPr>
              <a:t>jakelukorteista</a:t>
            </a:r>
            <a:r>
              <a:rPr lang="sv-SE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600" dirty="0" err="1">
                <a:latin typeface="Arial" panose="020B0604020202020204" pitchFamily="34" charset="0"/>
                <a:cs typeface="Arial" panose="020B0604020202020204" pitchFamily="34" charset="0"/>
              </a:rPr>
              <a:t>kollaasi</a:t>
            </a:r>
            <a:r>
              <a:rPr lang="sv-SE" sz="1600" dirty="0">
                <a:latin typeface="Arial" panose="020B0604020202020204" pitchFamily="34" charset="0"/>
                <a:cs typeface="Arial" panose="020B0604020202020204" pitchFamily="34" charset="0"/>
              </a:rPr>
              <a:t> ja </a:t>
            </a:r>
            <a:r>
              <a:rPr lang="sv-SE" sz="1600" dirty="0" err="1">
                <a:latin typeface="Arial" panose="020B0604020202020204" pitchFamily="34" charset="0"/>
                <a:cs typeface="Arial" panose="020B0604020202020204" pitchFamily="34" charset="0"/>
              </a:rPr>
              <a:t>järjestäkää</a:t>
            </a:r>
            <a:r>
              <a:rPr lang="sv-SE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600" dirty="0" err="1">
                <a:latin typeface="Arial" panose="020B0604020202020204" pitchFamily="34" charset="0"/>
                <a:cs typeface="Arial" panose="020B0604020202020204" pitchFamily="34" charset="0"/>
              </a:rPr>
              <a:t>näyttely</a:t>
            </a:r>
            <a:r>
              <a:rPr lang="sv-SE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600" dirty="0" err="1">
                <a:latin typeface="Arial" panose="020B0604020202020204" pitchFamily="34" charset="0"/>
                <a:cs typeface="Arial" panose="020B0604020202020204" pitchFamily="34" charset="0"/>
              </a:rPr>
              <a:t>koululla</a:t>
            </a:r>
            <a:r>
              <a:rPr lang="sv-SE" sz="16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sv-SE" sz="1600" dirty="0" err="1">
                <a:latin typeface="Arial" panose="020B0604020202020204" pitchFamily="34" charset="0"/>
                <a:cs typeface="Arial" panose="020B0604020202020204" pitchFamily="34" charset="0"/>
              </a:rPr>
              <a:t>lähikaupassa</a:t>
            </a:r>
            <a:r>
              <a:rPr lang="sv-SE" sz="1600" dirty="0">
                <a:latin typeface="Arial" panose="020B0604020202020204" pitchFamily="34" charset="0"/>
                <a:cs typeface="Arial" panose="020B0604020202020204" pitchFamily="34" charset="0"/>
              </a:rPr>
              <a:t> tai </a:t>
            </a:r>
            <a:r>
              <a:rPr lang="sv-SE" sz="1600" dirty="0" err="1">
                <a:latin typeface="Arial" panose="020B0604020202020204" pitchFamily="34" charset="0"/>
                <a:cs typeface="Arial" panose="020B0604020202020204" pitchFamily="34" charset="0"/>
              </a:rPr>
              <a:t>vaikka</a:t>
            </a:r>
            <a:r>
              <a:rPr lang="sv-SE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600" dirty="0" err="1">
                <a:latin typeface="Arial" panose="020B0604020202020204" pitchFamily="34" charset="0"/>
                <a:cs typeface="Arial" panose="020B0604020202020204" pitchFamily="34" charset="0"/>
              </a:rPr>
              <a:t>kirjastossa</a:t>
            </a:r>
            <a:r>
              <a:rPr lang="sv-SE" sz="16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sv-SE" sz="1600" dirty="0" err="1">
                <a:latin typeface="Arial" panose="020B0604020202020204" pitchFamily="34" charset="0"/>
                <a:cs typeface="Arial" panose="020B0604020202020204" pitchFamily="34" charset="0"/>
              </a:rPr>
              <a:t>Ottakaa</a:t>
            </a:r>
            <a:r>
              <a:rPr lang="sv-SE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600" dirty="0" err="1">
                <a:latin typeface="Arial" panose="020B0604020202020204" pitchFamily="34" charset="0"/>
                <a:cs typeface="Arial" panose="020B0604020202020204" pitchFamily="34" charset="0"/>
              </a:rPr>
              <a:t>kollaasista</a:t>
            </a:r>
            <a:r>
              <a:rPr lang="sv-SE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600" dirty="0" err="1">
                <a:latin typeface="Arial" panose="020B0604020202020204" pitchFamily="34" charset="0"/>
                <a:cs typeface="Arial" panose="020B0604020202020204" pitchFamily="34" charset="0"/>
              </a:rPr>
              <a:t>valokuva</a:t>
            </a:r>
            <a:r>
              <a:rPr lang="sv-SE" sz="16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sv-SE" sz="1600" dirty="0" err="1">
                <a:latin typeface="Arial" panose="020B0604020202020204" pitchFamily="34" charset="0"/>
                <a:cs typeface="Arial" panose="020B0604020202020204" pitchFamily="34" charset="0"/>
              </a:rPr>
              <a:t>jonka</a:t>
            </a:r>
            <a:r>
              <a:rPr lang="sv-SE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600" dirty="0" err="1">
                <a:latin typeface="Arial" panose="020B0604020202020204" pitchFamily="34" charset="0"/>
                <a:cs typeface="Arial" panose="020B0604020202020204" pitchFamily="34" charset="0"/>
              </a:rPr>
              <a:t>jaatte</a:t>
            </a:r>
            <a:r>
              <a:rPr lang="sv-SE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600" dirty="0" err="1">
                <a:latin typeface="Arial" panose="020B0604020202020204" pitchFamily="34" charset="0"/>
                <a:cs typeface="Arial" panose="020B0604020202020204" pitchFamily="34" charset="0"/>
              </a:rPr>
              <a:t>koulun</a:t>
            </a:r>
            <a:r>
              <a:rPr lang="sv-SE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600" dirty="0" err="1">
                <a:latin typeface="Arial" panose="020B0604020202020204" pitchFamily="34" charset="0"/>
                <a:cs typeface="Arial" panose="020B0604020202020204" pitchFamily="34" charset="0"/>
              </a:rPr>
              <a:t>kotisivuilla</a:t>
            </a:r>
            <a:r>
              <a:rPr lang="sv-SE" sz="16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sv-SE" sz="1600" dirty="0" err="1">
                <a:latin typeface="Arial" panose="020B0604020202020204" pitchFamily="34" charset="0"/>
                <a:cs typeface="Arial" panose="020B0604020202020204" pitchFamily="34" charset="0"/>
              </a:rPr>
              <a:t>sähköpostitse</a:t>
            </a:r>
            <a:r>
              <a:rPr lang="sv-SE" sz="1600" dirty="0">
                <a:latin typeface="Arial" panose="020B0604020202020204" pitchFamily="34" charset="0"/>
                <a:cs typeface="Arial" panose="020B0604020202020204" pitchFamily="34" charset="0"/>
              </a:rPr>
              <a:t> ja/tai </a:t>
            </a:r>
            <a:r>
              <a:rPr lang="sv-SE" sz="1600" dirty="0" err="1">
                <a:latin typeface="Arial" panose="020B0604020202020204" pitchFamily="34" charset="0"/>
                <a:cs typeface="Arial" panose="020B0604020202020204" pitchFamily="34" charset="0"/>
              </a:rPr>
              <a:t>sosiaalisessa</a:t>
            </a:r>
            <a:r>
              <a:rPr lang="sv-SE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600" dirty="0" err="1">
                <a:latin typeface="Arial" panose="020B0604020202020204" pitchFamily="34" charset="0"/>
                <a:cs typeface="Arial" panose="020B0604020202020204" pitchFamily="34" charset="0"/>
              </a:rPr>
              <a:t>mediassa</a:t>
            </a:r>
            <a:r>
              <a:rPr lang="sv-SE" sz="1600" dirty="0"/>
              <a:t>.</a:t>
            </a:r>
          </a:p>
          <a:p>
            <a:r>
              <a:rPr lang="sv-SE" sz="1600" dirty="0" err="1">
                <a:latin typeface="Arial" panose="020B0604020202020204" pitchFamily="34" charset="0"/>
                <a:cs typeface="Arial" panose="020B0604020202020204" pitchFamily="34" charset="0"/>
              </a:rPr>
              <a:t>Käyttäkää</a:t>
            </a:r>
            <a:r>
              <a:rPr lang="sv-SE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600" dirty="0" err="1">
                <a:latin typeface="Arial" panose="020B0604020202020204" pitchFamily="34" charset="0"/>
                <a:cs typeface="Arial" panose="020B0604020202020204" pitchFamily="34" charset="0"/>
              </a:rPr>
              <a:t>mielikuvitusta</a:t>
            </a:r>
            <a:r>
              <a:rPr lang="sv-SE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600" dirty="0" err="1">
                <a:latin typeface="Arial" panose="020B0604020202020204" pitchFamily="34" charset="0"/>
                <a:cs typeface="Arial" panose="020B0604020202020204" pitchFamily="34" charset="0"/>
              </a:rPr>
              <a:t>suunniteltaessa</a:t>
            </a:r>
            <a:r>
              <a:rPr lang="sv-SE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600" dirty="0" err="1">
                <a:latin typeface="Arial" panose="020B0604020202020204" pitchFamily="34" charset="0"/>
                <a:cs typeface="Arial" panose="020B0604020202020204" pitchFamily="34" charset="0"/>
              </a:rPr>
              <a:t>kampanjan</a:t>
            </a:r>
            <a:r>
              <a:rPr lang="sv-SE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600" dirty="0" err="1">
                <a:latin typeface="Arial" panose="020B0604020202020204" pitchFamily="34" charset="0"/>
                <a:cs typeface="Arial" panose="020B0604020202020204" pitchFamily="34" charset="0"/>
              </a:rPr>
              <a:t>toteutusta</a:t>
            </a:r>
            <a:r>
              <a:rPr lang="sv-SE" sz="16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sv-SE" sz="1600" dirty="0" err="1">
                <a:latin typeface="Arial" panose="020B0604020202020204" pitchFamily="34" charset="0"/>
                <a:cs typeface="Arial" panose="020B0604020202020204" pitchFamily="34" charset="0"/>
              </a:rPr>
              <a:t>Hyödyntäkää</a:t>
            </a:r>
            <a:r>
              <a:rPr lang="sv-SE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600" dirty="0" err="1">
                <a:latin typeface="Arial" panose="020B0604020202020204" pitchFamily="34" charset="0"/>
                <a:cs typeface="Arial" panose="020B0604020202020204" pitchFamily="34" charset="0"/>
              </a:rPr>
              <a:t>aiheesta</a:t>
            </a:r>
            <a:r>
              <a:rPr lang="sv-SE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600" dirty="0" err="1">
                <a:latin typeface="Arial" panose="020B0604020202020204" pitchFamily="34" charset="0"/>
                <a:cs typeface="Arial" panose="020B0604020202020204" pitchFamily="34" charset="0"/>
              </a:rPr>
              <a:t>koottua</a:t>
            </a:r>
            <a:r>
              <a:rPr lang="sv-SE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600" dirty="0" err="1">
                <a:latin typeface="Arial" panose="020B0604020202020204" pitchFamily="34" charset="0"/>
                <a:cs typeface="Arial" panose="020B0604020202020204" pitchFamily="34" charset="0"/>
              </a:rPr>
              <a:t>materiaalia</a:t>
            </a:r>
            <a:r>
              <a:rPr lang="sv-SE" sz="1600" dirty="0">
                <a:latin typeface="Arial" panose="020B0604020202020204" pitchFamily="34" charset="0"/>
                <a:cs typeface="Arial" panose="020B0604020202020204" pitchFamily="34" charset="0"/>
              </a:rPr>
              <a:t> “</a:t>
            </a:r>
            <a:r>
              <a:rPr lang="sv-SE" sz="1600" dirty="0" err="1">
                <a:latin typeface="Arial" panose="020B0604020202020204" pitchFamily="34" charset="0"/>
                <a:cs typeface="Arial" panose="020B0604020202020204" pitchFamily="34" charset="0"/>
              </a:rPr>
              <a:t>Pieni</a:t>
            </a:r>
            <a:r>
              <a:rPr lang="sv-SE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600" dirty="0" err="1">
                <a:latin typeface="Arial" panose="020B0604020202020204" pitchFamily="34" charset="0"/>
                <a:cs typeface="Arial" panose="020B0604020202020204" pitchFamily="34" charset="0"/>
              </a:rPr>
              <a:t>Kampanjakoulu</a:t>
            </a:r>
            <a:r>
              <a:rPr lang="sv-SE" sz="1600" dirty="0">
                <a:latin typeface="Arial" panose="020B0604020202020204" pitchFamily="34" charset="0"/>
                <a:cs typeface="Arial" panose="020B0604020202020204" pitchFamily="34" charset="0"/>
              </a:rPr>
              <a:t>”, </a:t>
            </a:r>
            <a:r>
              <a:rPr lang="sv-SE" sz="1600" dirty="0" err="1">
                <a:latin typeface="Arial" panose="020B0604020202020204" pitchFamily="34" charset="0"/>
                <a:cs typeface="Arial" panose="020B0604020202020204" pitchFamily="34" charset="0"/>
              </a:rPr>
              <a:t>joka</a:t>
            </a:r>
            <a:r>
              <a:rPr lang="sv-SE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600" dirty="0" err="1">
                <a:latin typeface="Arial" panose="020B0604020202020204" pitchFamily="34" charset="0"/>
                <a:cs typeface="Arial" panose="020B0604020202020204" pitchFamily="34" charset="0"/>
              </a:rPr>
              <a:t>löytyy</a:t>
            </a:r>
            <a:r>
              <a:rPr lang="sv-SE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600" dirty="0" err="1">
                <a:latin typeface="Arial" panose="020B0604020202020204" pitchFamily="34" charset="0"/>
                <a:cs typeface="Arial" panose="020B0604020202020204" pitchFamily="34" charset="0"/>
              </a:rPr>
              <a:t>kampanjasivujen</a:t>
            </a:r>
            <a:r>
              <a:rPr lang="sv-SE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600" dirty="0" err="1">
                <a:latin typeface="Arial" panose="020B0604020202020204" pitchFamily="34" charset="0"/>
                <a:cs typeface="Arial" panose="020B0604020202020204" pitchFamily="34" charset="0"/>
              </a:rPr>
              <a:t>osiosta</a:t>
            </a:r>
            <a:r>
              <a:rPr lang="sv-SE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600" dirty="0" err="1"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Aineistoa</a:t>
            </a:r>
            <a:r>
              <a:rPr lang="sv-SE" sz="1600" dirty="0"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 ja </a:t>
            </a:r>
            <a:r>
              <a:rPr lang="sv-SE" sz="1600" dirty="0" err="1"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Materiaalpankki</a:t>
            </a:r>
            <a:r>
              <a:rPr lang="sv-SE" sz="16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sv-SE" sz="1600" dirty="0">
              <a:solidFill>
                <a:schemeClr val="tx2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sv-SE" dirty="0"/>
          </a:p>
        </p:txBody>
      </p:sp>
      <p:pic>
        <p:nvPicPr>
          <p:cNvPr id="6" name="Bildobjekt 5">
            <a:extLst>
              <a:ext uri="{FF2B5EF4-FFF2-40B4-BE49-F238E27FC236}">
                <a16:creationId xmlns:a16="http://schemas.microsoft.com/office/drawing/2014/main" id="{6DAFEEAE-ED29-A347-98F9-5D4042BE181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5536" y="4659982"/>
            <a:ext cx="1152128" cy="317987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D047EEFF-4353-EE50-254D-982E1D9E384F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8454" y="4221252"/>
            <a:ext cx="640010" cy="756717"/>
          </a:xfrm>
          <a:prstGeom prst="rect">
            <a:avLst/>
          </a:prstGeom>
        </p:spPr>
      </p:pic>
      <p:pic>
        <p:nvPicPr>
          <p:cNvPr id="5" name="Bildobjekt 4">
            <a:extLst>
              <a:ext uri="{FF2B5EF4-FFF2-40B4-BE49-F238E27FC236}">
                <a16:creationId xmlns:a16="http://schemas.microsoft.com/office/drawing/2014/main" id="{F16D40D6-6850-6DF5-0752-BB79F5BD7186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21370222">
            <a:off x="5260317" y="3092302"/>
            <a:ext cx="1814403" cy="1638633"/>
          </a:xfrm>
          <a:prstGeom prst="rect">
            <a:avLst/>
          </a:prstGeom>
        </p:spPr>
      </p:pic>
      <p:pic>
        <p:nvPicPr>
          <p:cNvPr id="9" name="Bildobjekt 8" descr="En bild som visar klädsel, person, utomhus, fotbeklädnader&#10;&#10;Automatiskt genererad beskrivning">
            <a:extLst>
              <a:ext uri="{FF2B5EF4-FFF2-40B4-BE49-F238E27FC236}">
                <a16:creationId xmlns:a16="http://schemas.microsoft.com/office/drawing/2014/main" id="{D1408C53-6769-CB0E-9FD0-F0E6AC3C7FC5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413492">
            <a:off x="7031282" y="941506"/>
            <a:ext cx="1794691" cy="2692038"/>
          </a:xfrm>
          <a:prstGeom prst="rect">
            <a:avLst/>
          </a:prstGeom>
        </p:spPr>
      </p:pic>
      <p:pic>
        <p:nvPicPr>
          <p:cNvPr id="11" name="Bildobjekt 10" descr="En bild som visar text, skärmbild, Internetreklam, design&#10;&#10;Automatiskt genererad beskrivning">
            <a:extLst>
              <a:ext uri="{FF2B5EF4-FFF2-40B4-BE49-F238E27FC236}">
                <a16:creationId xmlns:a16="http://schemas.microsoft.com/office/drawing/2014/main" id="{2B973929-B15B-DFA8-76DC-A4C1DF205CD8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1099543">
            <a:off x="5405671" y="229462"/>
            <a:ext cx="1440160" cy="2835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140465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objekt 7">
            <a:extLst>
              <a:ext uri="{FF2B5EF4-FFF2-40B4-BE49-F238E27FC236}">
                <a16:creationId xmlns:a16="http://schemas.microsoft.com/office/drawing/2014/main" id="{8FC10530-435B-3440-9FFA-009E6D20059A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07588" y="1295121"/>
            <a:ext cx="2127951" cy="2837268"/>
          </a:xfrm>
          <a:prstGeom prst="rect">
            <a:avLst/>
          </a:prstGeom>
        </p:spPr>
      </p:pic>
      <p:pic>
        <p:nvPicPr>
          <p:cNvPr id="12" name="Bildobjekt 11">
            <a:extLst>
              <a:ext uri="{FF2B5EF4-FFF2-40B4-BE49-F238E27FC236}">
                <a16:creationId xmlns:a16="http://schemas.microsoft.com/office/drawing/2014/main" id="{9C80DC5B-D3C4-B441-82F7-259244FCFE23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649843">
            <a:off x="5606943" y="1355486"/>
            <a:ext cx="2558972" cy="2558972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78BFE9A7-A37F-0B4D-94F2-F6B10B6D3F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/>
              <a:t>Esimerkkejä</a:t>
            </a:r>
            <a:r>
              <a:rPr lang="sv-SE" dirty="0"/>
              <a:t> </a:t>
            </a:r>
            <a:r>
              <a:rPr lang="sv-SE" dirty="0" err="1"/>
              <a:t>aikaisemmilta</a:t>
            </a:r>
            <a:r>
              <a:rPr lang="sv-SE" dirty="0"/>
              <a:t> </a:t>
            </a:r>
            <a:r>
              <a:rPr lang="sv-SE" dirty="0" err="1"/>
              <a:t>kilpailukausilta</a:t>
            </a:r>
            <a:r>
              <a:rPr lang="sv-SE" dirty="0"/>
              <a:t>:</a:t>
            </a:r>
          </a:p>
        </p:txBody>
      </p:sp>
      <p:pic>
        <p:nvPicPr>
          <p:cNvPr id="6" name="Bildobjekt 5">
            <a:extLst>
              <a:ext uri="{FF2B5EF4-FFF2-40B4-BE49-F238E27FC236}">
                <a16:creationId xmlns:a16="http://schemas.microsoft.com/office/drawing/2014/main" id="{5633F419-99F7-BD4E-86E7-B22B239E63FF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21106662">
            <a:off x="525010" y="1117048"/>
            <a:ext cx="3035851" cy="3035851"/>
          </a:xfrm>
          <a:prstGeom prst="rect">
            <a:avLst/>
          </a:prstGeom>
        </p:spPr>
      </p:pic>
      <p:pic>
        <p:nvPicPr>
          <p:cNvPr id="9" name="Bildobjekt 8">
            <a:extLst>
              <a:ext uri="{FF2B5EF4-FFF2-40B4-BE49-F238E27FC236}">
                <a16:creationId xmlns:a16="http://schemas.microsoft.com/office/drawing/2014/main" id="{752C2F66-6F31-A64B-B6F1-6D68CAEBA37F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5536" y="4659982"/>
            <a:ext cx="1152128" cy="317987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3232505-291F-E864-9D18-C558819791DB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8454" y="4221252"/>
            <a:ext cx="640010" cy="756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476972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323528" y="589775"/>
            <a:ext cx="3888432" cy="3759977"/>
          </a:xfrm>
        </p:spPr>
        <p:txBody>
          <a:bodyPr/>
          <a:lstStyle/>
          <a:p>
            <a:pPr marL="731" indent="0">
              <a:buNone/>
            </a:pPr>
            <a:r>
              <a:rPr lang="sv-SE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Tehkää</a:t>
            </a:r>
            <a:r>
              <a:rPr lang="sv-SE" sz="1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kampanjan</a:t>
            </a:r>
            <a:r>
              <a:rPr lang="sv-SE" sz="1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kuvaus</a:t>
            </a:r>
            <a:r>
              <a:rPr lang="sv-SE" sz="1600" b="1" dirty="0">
                <a:latin typeface="Arial" panose="020B0604020202020204" pitchFamily="34" charset="0"/>
                <a:cs typeface="Arial" panose="020B0604020202020204" pitchFamily="34" charset="0"/>
              </a:rPr>
              <a:t> ja </a:t>
            </a:r>
            <a:r>
              <a:rPr lang="sv-SE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rekisteröinti</a:t>
            </a:r>
            <a:r>
              <a:rPr lang="sv-SE" sz="1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nettisivuille</a:t>
            </a:r>
            <a:endParaRPr lang="sv-SE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31" indent="0">
              <a:buNone/>
            </a:pPr>
            <a:r>
              <a:rPr lang="sv-SE" sz="1350" dirty="0" err="1">
                <a:cs typeface="Arial" panose="020B0604020202020204" pitchFamily="34" charset="0"/>
              </a:rPr>
              <a:t>Ottakaa</a:t>
            </a:r>
            <a:r>
              <a:rPr lang="sv-SE" sz="1350" dirty="0">
                <a:cs typeface="Arial" panose="020B0604020202020204" pitchFamily="34" charset="0"/>
              </a:rPr>
              <a:t> </a:t>
            </a:r>
            <a:r>
              <a:rPr lang="sv-SE" sz="1350" dirty="0" err="1">
                <a:cs typeface="Arial" panose="020B0604020202020204" pitchFamily="34" charset="0"/>
              </a:rPr>
              <a:t>kampanjan</a:t>
            </a:r>
            <a:r>
              <a:rPr lang="sv-SE" sz="1350" dirty="0">
                <a:cs typeface="Arial" panose="020B0604020202020204" pitchFamily="34" charset="0"/>
              </a:rPr>
              <a:t> </a:t>
            </a:r>
            <a:r>
              <a:rPr lang="sv-SE" sz="1350" dirty="0" err="1">
                <a:cs typeface="Arial" panose="020B0604020202020204" pitchFamily="34" charset="0"/>
              </a:rPr>
              <a:t>toteutuksista</a:t>
            </a:r>
            <a:r>
              <a:rPr lang="sv-SE" sz="1350" dirty="0">
                <a:cs typeface="Arial" panose="020B0604020202020204" pitchFamily="34" charset="0"/>
              </a:rPr>
              <a:t> </a:t>
            </a:r>
            <a:r>
              <a:rPr lang="sv-SE" sz="1350" dirty="0" err="1">
                <a:cs typeface="Arial" panose="020B0604020202020204" pitchFamily="34" charset="0"/>
              </a:rPr>
              <a:t>kuvia</a:t>
            </a:r>
            <a:r>
              <a:rPr lang="sv-SE" sz="1350" dirty="0">
                <a:cs typeface="Arial" panose="020B0604020202020204" pitchFamily="34" charset="0"/>
              </a:rPr>
              <a:t> ja </a:t>
            </a:r>
            <a:r>
              <a:rPr lang="sv-SE" sz="1350" dirty="0" err="1">
                <a:cs typeface="Arial" panose="020B0604020202020204" pitchFamily="34" charset="0"/>
              </a:rPr>
              <a:t>kirjoittakaa</a:t>
            </a:r>
            <a:r>
              <a:rPr lang="sv-SE" sz="1350" dirty="0">
                <a:cs typeface="Arial" panose="020B0604020202020204" pitchFamily="34" charset="0"/>
              </a:rPr>
              <a:t> </a:t>
            </a:r>
            <a:r>
              <a:rPr lang="sv-SE" sz="1350" dirty="0" err="1">
                <a:cs typeface="Arial" panose="020B0604020202020204" pitchFamily="34" charset="0"/>
              </a:rPr>
              <a:t>lyhyt</a:t>
            </a:r>
            <a:r>
              <a:rPr lang="sv-SE" sz="1350" dirty="0">
                <a:cs typeface="Arial" panose="020B0604020202020204" pitchFamily="34" charset="0"/>
              </a:rPr>
              <a:t> </a:t>
            </a:r>
            <a:r>
              <a:rPr lang="sv-SE" sz="1350" dirty="0" err="1">
                <a:cs typeface="Arial" panose="020B0604020202020204" pitchFamily="34" charset="0"/>
              </a:rPr>
              <a:t>tarina</a:t>
            </a:r>
            <a:r>
              <a:rPr lang="sv-SE" sz="1350" dirty="0">
                <a:cs typeface="Arial" panose="020B0604020202020204" pitchFamily="34" charset="0"/>
              </a:rPr>
              <a:t> tai </a:t>
            </a:r>
            <a:r>
              <a:rPr lang="sv-SE" sz="1350" dirty="0" err="1">
                <a:cs typeface="Arial" panose="020B0604020202020204" pitchFamily="34" charset="0"/>
              </a:rPr>
              <a:t>tehkää</a:t>
            </a:r>
            <a:r>
              <a:rPr lang="sv-SE" sz="1350" dirty="0">
                <a:cs typeface="Arial" panose="020B0604020202020204" pitchFamily="34" charset="0"/>
              </a:rPr>
              <a:t> </a:t>
            </a:r>
            <a:r>
              <a:rPr lang="sv-SE" sz="1350" dirty="0" err="1">
                <a:cs typeface="Arial" panose="020B0604020202020204" pitchFamily="34" charset="0"/>
              </a:rPr>
              <a:t>yhdessä</a:t>
            </a:r>
            <a:r>
              <a:rPr lang="sv-SE" sz="1350" dirty="0">
                <a:cs typeface="Arial" panose="020B0604020202020204" pitchFamily="34" charset="0"/>
              </a:rPr>
              <a:t> video, </a:t>
            </a:r>
            <a:r>
              <a:rPr lang="sv-SE" sz="1350" dirty="0" err="1">
                <a:cs typeface="Arial" panose="020B0604020202020204" pitchFamily="34" charset="0"/>
              </a:rPr>
              <a:t>joka</a:t>
            </a:r>
            <a:r>
              <a:rPr lang="sv-SE" sz="1350" dirty="0">
                <a:cs typeface="Arial" panose="020B0604020202020204" pitchFamily="34" charset="0"/>
              </a:rPr>
              <a:t> </a:t>
            </a:r>
            <a:r>
              <a:rPr lang="sv-SE" sz="1350" dirty="0" err="1">
                <a:cs typeface="Arial" panose="020B0604020202020204" pitchFamily="34" charset="0"/>
              </a:rPr>
              <a:t>kertoo</a:t>
            </a:r>
            <a:r>
              <a:rPr lang="sv-SE" sz="1350" dirty="0">
                <a:cs typeface="Arial" panose="020B0604020202020204" pitchFamily="34" charset="0"/>
              </a:rPr>
              <a:t>, </a:t>
            </a:r>
            <a:r>
              <a:rPr lang="sv-SE" sz="1350" dirty="0" err="1">
                <a:cs typeface="Arial" panose="020B0604020202020204" pitchFamily="34" charset="0"/>
              </a:rPr>
              <a:t>miten</a:t>
            </a:r>
            <a:r>
              <a:rPr lang="sv-SE" sz="1350" dirty="0">
                <a:cs typeface="Arial" panose="020B0604020202020204" pitchFamily="34" charset="0"/>
              </a:rPr>
              <a:t> </a:t>
            </a:r>
            <a:r>
              <a:rPr lang="sv-SE" sz="1350" dirty="0" err="1">
                <a:cs typeface="Arial" panose="020B0604020202020204" pitchFamily="34" charset="0"/>
              </a:rPr>
              <a:t>veitte</a:t>
            </a:r>
            <a:r>
              <a:rPr lang="sv-SE" sz="1350" dirty="0">
                <a:cs typeface="Arial" panose="020B0604020202020204" pitchFamily="34" charset="0"/>
              </a:rPr>
              <a:t> </a:t>
            </a:r>
            <a:r>
              <a:rPr lang="sv-SE" sz="1350" dirty="0" err="1">
                <a:cs typeface="Arial" panose="020B0604020202020204" pitchFamily="34" charset="0"/>
              </a:rPr>
              <a:t>viestiä</a:t>
            </a:r>
            <a:r>
              <a:rPr lang="sv-SE" sz="1350" dirty="0">
                <a:cs typeface="Arial" panose="020B0604020202020204" pitchFamily="34" charset="0"/>
              </a:rPr>
              <a:t> </a:t>
            </a:r>
            <a:r>
              <a:rPr lang="sv-SE" sz="1350" dirty="0" err="1">
                <a:cs typeface="Arial" panose="020B0604020202020204" pitchFamily="34" charset="0"/>
              </a:rPr>
              <a:t>eteenpäin</a:t>
            </a:r>
            <a:endParaRPr lang="sv-SE" sz="1350" dirty="0">
              <a:cs typeface="Arial" panose="020B0604020202020204" pitchFamily="34" charset="0"/>
            </a:endParaRPr>
          </a:p>
          <a:p>
            <a:pPr marL="731" indent="0">
              <a:buNone/>
            </a:pPr>
            <a:r>
              <a:rPr lang="fi-FI" sz="1350" kern="0" spc="4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Rekisteröi haastetehtävä Minun sivut osiossa viimeistään </a:t>
            </a:r>
            <a:r>
              <a:rPr lang="fi-FI" sz="1350" b="1" kern="0" spc="4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13.4.2025</a:t>
            </a:r>
            <a:endParaRPr lang="sv-SE" sz="1350" b="1" kern="100" dirty="0">
              <a:effectLst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731" indent="0">
              <a:buNone/>
            </a:pPr>
            <a:endParaRPr lang="sv-SE" sz="135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31" indent="0">
              <a:buNone/>
            </a:pPr>
            <a:endParaRPr lang="sv-SE" sz="135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Bildobjekt 6" descr="En bild som visar text, inomhus, öppen, skärmbild&#10;&#10;Automatiskt genererad beskrivning">
            <a:extLst>
              <a:ext uri="{FF2B5EF4-FFF2-40B4-BE49-F238E27FC236}">
                <a16:creationId xmlns:a16="http://schemas.microsoft.com/office/drawing/2014/main" id="{25E9C5FA-EA05-2840-9FD0-C3F66C9EF68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21340819">
            <a:off x="5003280" y="389047"/>
            <a:ext cx="2897349" cy="3912915"/>
          </a:xfrm>
          <a:prstGeom prst="rect">
            <a:avLst/>
          </a:prstGeom>
        </p:spPr>
      </p:pic>
      <p:pic>
        <p:nvPicPr>
          <p:cNvPr id="8" name="Bildobjekt 7">
            <a:extLst>
              <a:ext uri="{FF2B5EF4-FFF2-40B4-BE49-F238E27FC236}">
                <a16:creationId xmlns:a16="http://schemas.microsoft.com/office/drawing/2014/main" id="{4EDB238C-988A-DD44-8CFE-4852451B94C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5536" y="4659982"/>
            <a:ext cx="1152128" cy="317987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C180D2D8-5C31-6C35-A875-288F74385AF0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8454" y="4221252"/>
            <a:ext cx="640010" cy="756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013995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Bildobjekt 12">
            <a:extLst>
              <a:ext uri="{FF2B5EF4-FFF2-40B4-BE49-F238E27FC236}">
                <a16:creationId xmlns:a16="http://schemas.microsoft.com/office/drawing/2014/main" id="{7BDD22A3-09B7-CC4E-8FD1-FEE3408617A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24503" y="1402459"/>
            <a:ext cx="5123882" cy="2882184"/>
          </a:xfrm>
          <a:prstGeom prst="rect">
            <a:avLst/>
          </a:prstGeom>
        </p:spPr>
      </p:pic>
      <p:sp>
        <p:nvSpPr>
          <p:cNvPr id="6" name="Rektangel 5">
            <a:extLst>
              <a:ext uri="{FF2B5EF4-FFF2-40B4-BE49-F238E27FC236}">
                <a16:creationId xmlns:a16="http://schemas.microsoft.com/office/drawing/2014/main" id="{56E96FAF-26CE-8B4D-BF46-D0072709A086}"/>
              </a:ext>
            </a:extLst>
          </p:cNvPr>
          <p:cNvSpPr/>
          <p:nvPr/>
        </p:nvSpPr>
        <p:spPr bwMode="auto">
          <a:xfrm>
            <a:off x="5733118" y="764788"/>
            <a:ext cx="1681784" cy="648072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None/>
              <a:tabLst/>
            </a:pPr>
            <a:endParaRPr kumimoji="0" lang="en-US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宋体" pitchFamily="2" charset="-122"/>
            </a:endParaRPr>
          </a:p>
        </p:txBody>
      </p:sp>
      <p:sp>
        <p:nvSpPr>
          <p:cNvPr id="7" name="Triangel 6">
            <a:extLst>
              <a:ext uri="{FF2B5EF4-FFF2-40B4-BE49-F238E27FC236}">
                <a16:creationId xmlns:a16="http://schemas.microsoft.com/office/drawing/2014/main" id="{08EA2A38-D6AD-D644-939A-DB9CE8EBDAFD}"/>
              </a:ext>
            </a:extLst>
          </p:cNvPr>
          <p:cNvSpPr/>
          <p:nvPr/>
        </p:nvSpPr>
        <p:spPr bwMode="auto">
          <a:xfrm rot="12549854">
            <a:off x="5818305" y="1196837"/>
            <a:ext cx="288032" cy="720080"/>
          </a:xfrm>
          <a:prstGeom prst="triangle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None/>
              <a:tabLst/>
            </a:pPr>
            <a:endParaRPr kumimoji="0" lang="en-US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宋体" pitchFamily="2" charset="-122"/>
            </a:endParaRPr>
          </a:p>
        </p:txBody>
      </p:sp>
      <p:sp>
        <p:nvSpPr>
          <p:cNvPr id="8" name="textruta 7">
            <a:extLst>
              <a:ext uri="{FF2B5EF4-FFF2-40B4-BE49-F238E27FC236}">
                <a16:creationId xmlns:a16="http://schemas.microsoft.com/office/drawing/2014/main" id="{34CDE054-2892-CD4F-A537-602A7C39BA7F}"/>
              </a:ext>
            </a:extLst>
          </p:cNvPr>
          <p:cNvSpPr txBox="1"/>
          <p:nvPr/>
        </p:nvSpPr>
        <p:spPr>
          <a:xfrm>
            <a:off x="5796136" y="843558"/>
            <a:ext cx="1773185" cy="4801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buNone/>
            </a:pPr>
            <a:r>
              <a:rPr lang="sv-SE" sz="1400" dirty="0" err="1">
                <a:solidFill>
                  <a:schemeClr val="bg1"/>
                </a:solidFill>
              </a:rPr>
              <a:t>Yhdessä</a:t>
            </a:r>
            <a:r>
              <a:rPr lang="sv-SE" sz="1400" dirty="0">
                <a:solidFill>
                  <a:schemeClr val="bg1"/>
                </a:solidFill>
              </a:rPr>
              <a:t> </a:t>
            </a:r>
            <a:r>
              <a:rPr lang="sv-SE" sz="1400" dirty="0" err="1">
                <a:solidFill>
                  <a:schemeClr val="bg1"/>
                </a:solidFill>
              </a:rPr>
              <a:t>voimme</a:t>
            </a:r>
            <a:r>
              <a:rPr lang="sv-SE" sz="1400" dirty="0">
                <a:solidFill>
                  <a:schemeClr val="bg1"/>
                </a:solidFill>
              </a:rPr>
              <a:t> </a:t>
            </a:r>
            <a:r>
              <a:rPr lang="sv-SE" sz="1400" dirty="0" err="1">
                <a:solidFill>
                  <a:schemeClr val="bg1"/>
                </a:solidFill>
              </a:rPr>
              <a:t>vaikuttaa</a:t>
            </a:r>
            <a:r>
              <a:rPr lang="sv-SE" sz="1400" dirty="0">
                <a:solidFill>
                  <a:schemeClr val="bg1"/>
                </a:solidFill>
              </a:rPr>
              <a:t>!</a:t>
            </a:r>
          </a:p>
        </p:txBody>
      </p:sp>
      <p:sp>
        <p:nvSpPr>
          <p:cNvPr id="9" name="Rubrik 1">
            <a:extLst>
              <a:ext uri="{FF2B5EF4-FFF2-40B4-BE49-F238E27FC236}">
                <a16:creationId xmlns:a16="http://schemas.microsoft.com/office/drawing/2014/main" id="{6E052062-ED9E-344C-9AD0-1F3D689CDC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3846" y="561173"/>
            <a:ext cx="8048553" cy="486000"/>
          </a:xfrm>
        </p:spPr>
        <p:txBody>
          <a:bodyPr/>
          <a:lstStyle/>
          <a:p>
            <a:r>
              <a:rPr lang="sv-SE" dirty="0" err="1">
                <a:latin typeface="Arial" panose="020B0604020202020204" pitchFamily="34" charset="0"/>
                <a:cs typeface="Arial" panose="020B0604020202020204" pitchFamily="34" charset="0"/>
              </a:rPr>
              <a:t>Onnea</a:t>
            </a:r>
            <a:r>
              <a:rPr lang="sv-S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dirty="0" err="1">
                <a:latin typeface="Arial" panose="020B0604020202020204" pitchFamily="34" charset="0"/>
                <a:cs typeface="Arial" panose="020B0604020202020204" pitchFamily="34" charset="0"/>
              </a:rPr>
              <a:t>kisaan</a:t>
            </a:r>
            <a:r>
              <a:rPr lang="sv-SE" dirty="0">
                <a:latin typeface="Arial" panose="020B0604020202020204" pitchFamily="34" charset="0"/>
                <a:cs typeface="Arial" panose="020B0604020202020204" pitchFamily="34" charset="0"/>
              </a:rPr>
              <a:t>!</a:t>
            </a:r>
          </a:p>
        </p:txBody>
      </p:sp>
      <p:pic>
        <p:nvPicPr>
          <p:cNvPr id="3" name="Bildobjekt 2">
            <a:extLst>
              <a:ext uri="{FF2B5EF4-FFF2-40B4-BE49-F238E27FC236}">
                <a16:creationId xmlns:a16="http://schemas.microsoft.com/office/drawing/2014/main" id="{EAD49D6E-547C-A14C-B564-649A81C6BBD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5536" y="4659982"/>
            <a:ext cx="1152128" cy="317987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D8010C2F-D5DC-50F1-034A-D779F8A4B21C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8454" y="4221252"/>
            <a:ext cx="640010" cy="756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36466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azer_template_012020">
  <a:themeElements>
    <a:clrScheme name="Custom 17">
      <a:dk1>
        <a:srgbClr val="15246B"/>
      </a:dk1>
      <a:lt1>
        <a:srgbClr val="FFFFFF"/>
      </a:lt1>
      <a:dk2>
        <a:srgbClr val="CAA977"/>
      </a:dk2>
      <a:lt2>
        <a:srgbClr val="CA0F7B"/>
      </a:lt2>
      <a:accent1>
        <a:srgbClr val="15246A"/>
      </a:accent1>
      <a:accent2>
        <a:srgbClr val="C9A877"/>
      </a:accent2>
      <a:accent3>
        <a:srgbClr val="E9DAB9"/>
      </a:accent3>
      <a:accent4>
        <a:srgbClr val="82C1C9"/>
      </a:accent4>
      <a:accent5>
        <a:srgbClr val="F3C35D"/>
      </a:accent5>
      <a:accent6>
        <a:srgbClr val="457168"/>
      </a:accent6>
      <a:hlink>
        <a:srgbClr val="B8DA95"/>
      </a:hlink>
      <a:folHlink>
        <a:srgbClr val="2478B6"/>
      </a:folHlink>
    </a:clrScheme>
    <a:fontScheme name="5. General">
      <a:majorFont>
        <a:latin typeface="Arial"/>
        <a:ea typeface="宋体"/>
        <a:cs typeface=""/>
      </a:majorFont>
      <a:minorFont>
        <a:latin typeface="Arial"/>
        <a:ea typeface="宋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72000" rIns="72000" bIns="72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1"/>
          </a:buClr>
          <a:buSzTx/>
          <a:buNone/>
          <a:tabLst/>
          <a:defRPr kumimoji="0" sz="1800" b="0" i="0" u="none" strike="noStrike" cap="none" normalizeH="0" baseline="0" dirty="0" err="1" smtClean="0">
            <a:ln>
              <a:noFill/>
            </a:ln>
            <a:solidFill>
              <a:schemeClr val="bg1"/>
            </a:solidFill>
            <a:effectLst/>
            <a:latin typeface="Arial" charset="0"/>
            <a:ea typeface="宋体" pitchFamily="2" charset="-122"/>
          </a:defRPr>
        </a:defPPr>
      </a:lstStyle>
    </a:spDef>
    <a:lnDef>
      <a:spPr bwMode="auto">
        <a:noFill/>
        <a:ln w="635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none" rtlCol="0">
        <a:spAutoFit/>
      </a:bodyPr>
      <a:lstStyle>
        <a:defPPr algn="l">
          <a:buNone/>
          <a:defRPr dirty="0" smtClean="0"/>
        </a:defPPr>
      </a:lstStyle>
    </a:txDef>
  </a:objectDefaults>
  <a:extraClrSchemeLst>
    <a:extraClrScheme>
      <a:clrScheme name="5. General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13">
        <a:dk1>
          <a:srgbClr val="003082"/>
        </a:dk1>
        <a:lt1>
          <a:srgbClr val="FFFFFF"/>
        </a:lt1>
        <a:dk2>
          <a:srgbClr val="003082"/>
        </a:dk2>
        <a:lt2>
          <a:srgbClr val="808080"/>
        </a:lt2>
        <a:accent1>
          <a:srgbClr val="BB6D06"/>
        </a:accent1>
        <a:accent2>
          <a:srgbClr val="9ED4CB"/>
        </a:accent2>
        <a:accent3>
          <a:srgbClr val="FFFFFF"/>
        </a:accent3>
        <a:accent4>
          <a:srgbClr val="00276E"/>
        </a:accent4>
        <a:accent5>
          <a:srgbClr val="DABAAA"/>
        </a:accent5>
        <a:accent6>
          <a:srgbClr val="8FC0B8"/>
        </a:accent6>
        <a:hlink>
          <a:srgbClr val="4799B6"/>
        </a:hlink>
        <a:folHlink>
          <a:srgbClr val="DE710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14">
        <a:dk1>
          <a:srgbClr val="003082"/>
        </a:dk1>
        <a:lt1>
          <a:srgbClr val="FFFFFF"/>
        </a:lt1>
        <a:dk2>
          <a:srgbClr val="003082"/>
        </a:dk2>
        <a:lt2>
          <a:srgbClr val="808080"/>
        </a:lt2>
        <a:accent1>
          <a:srgbClr val="FCC953"/>
        </a:accent1>
        <a:accent2>
          <a:srgbClr val="9ED4CB"/>
        </a:accent2>
        <a:accent3>
          <a:srgbClr val="FFFFFF"/>
        </a:accent3>
        <a:accent4>
          <a:srgbClr val="00276E"/>
        </a:accent4>
        <a:accent5>
          <a:srgbClr val="FDE1B3"/>
        </a:accent5>
        <a:accent6>
          <a:srgbClr val="8FC0B8"/>
        </a:accent6>
        <a:hlink>
          <a:srgbClr val="4799B6"/>
        </a:hlink>
        <a:folHlink>
          <a:srgbClr val="DE710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13">
        <a:dk1>
          <a:srgbClr val="003082"/>
        </a:dk1>
        <a:lt1>
          <a:srgbClr val="FFFFFF"/>
        </a:lt1>
        <a:dk2>
          <a:srgbClr val="003082"/>
        </a:dk2>
        <a:lt2>
          <a:srgbClr val="808080"/>
        </a:lt2>
        <a:accent1>
          <a:srgbClr val="BB6D06"/>
        </a:accent1>
        <a:accent2>
          <a:srgbClr val="9ED4CB"/>
        </a:accent2>
        <a:accent3>
          <a:srgbClr val="FFFFFF"/>
        </a:accent3>
        <a:accent4>
          <a:srgbClr val="00276E"/>
        </a:accent4>
        <a:accent5>
          <a:srgbClr val="DABAAA"/>
        </a:accent5>
        <a:accent6>
          <a:srgbClr val="8FC0B8"/>
        </a:accent6>
        <a:hlink>
          <a:srgbClr val="4799B6"/>
        </a:hlink>
        <a:folHlink>
          <a:srgbClr val="DE710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14">
        <a:dk1>
          <a:srgbClr val="003082"/>
        </a:dk1>
        <a:lt1>
          <a:srgbClr val="FFFFFF"/>
        </a:lt1>
        <a:dk2>
          <a:srgbClr val="003082"/>
        </a:dk2>
        <a:lt2>
          <a:srgbClr val="808080"/>
        </a:lt2>
        <a:accent1>
          <a:srgbClr val="FCC953"/>
        </a:accent1>
        <a:accent2>
          <a:srgbClr val="9ED4CB"/>
        </a:accent2>
        <a:accent3>
          <a:srgbClr val="FFFFFF"/>
        </a:accent3>
        <a:accent4>
          <a:srgbClr val="00276E"/>
        </a:accent4>
        <a:accent5>
          <a:srgbClr val="FDE1B3"/>
        </a:accent5>
        <a:accent6>
          <a:srgbClr val="8FC0B8"/>
        </a:accent6>
        <a:hlink>
          <a:srgbClr val="4799B6"/>
        </a:hlink>
        <a:folHlink>
          <a:srgbClr val="DE710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15">
        <a:dk1>
          <a:srgbClr val="003082"/>
        </a:dk1>
        <a:lt1>
          <a:srgbClr val="FFFFFF"/>
        </a:lt1>
        <a:dk2>
          <a:srgbClr val="BB5206"/>
        </a:dk2>
        <a:lt2>
          <a:srgbClr val="808080"/>
        </a:lt2>
        <a:accent1>
          <a:srgbClr val="FCC953"/>
        </a:accent1>
        <a:accent2>
          <a:srgbClr val="9ED4CB"/>
        </a:accent2>
        <a:accent3>
          <a:srgbClr val="FFFFFF"/>
        </a:accent3>
        <a:accent4>
          <a:srgbClr val="00276E"/>
        </a:accent4>
        <a:accent5>
          <a:srgbClr val="FDE1B3"/>
        </a:accent5>
        <a:accent6>
          <a:srgbClr val="8FC0B8"/>
        </a:accent6>
        <a:hlink>
          <a:srgbClr val="4799B6"/>
        </a:hlink>
        <a:folHlink>
          <a:srgbClr val="DE710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16">
        <a:dk1>
          <a:srgbClr val="003082"/>
        </a:dk1>
        <a:lt1>
          <a:srgbClr val="FFFFFF"/>
        </a:lt1>
        <a:dk2>
          <a:srgbClr val="BB5206"/>
        </a:dk2>
        <a:lt2>
          <a:srgbClr val="808080"/>
        </a:lt2>
        <a:accent1>
          <a:srgbClr val="003082"/>
        </a:accent1>
        <a:accent2>
          <a:srgbClr val="4799B6"/>
        </a:accent2>
        <a:accent3>
          <a:srgbClr val="FFFFFF"/>
        </a:accent3>
        <a:accent4>
          <a:srgbClr val="00276E"/>
        </a:accent4>
        <a:accent5>
          <a:srgbClr val="AAADC1"/>
        </a:accent5>
        <a:accent6>
          <a:srgbClr val="3F8AA5"/>
        </a:accent6>
        <a:hlink>
          <a:srgbClr val="BB5206"/>
        </a:hlink>
        <a:folHlink>
          <a:srgbClr val="DE710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_012020" id="{F8A033E2-6EF7-3041-86EF-21C030848271}" vid="{B79BA3F1-E9D6-044D-9CBE-4CF25D7FCB98}"/>
    </a:ext>
  </a:extLst>
</a:theme>
</file>

<file path=ppt/theme/theme2.xml><?xml version="1.0" encoding="utf-8"?>
<a:theme xmlns:a="http://schemas.openxmlformats.org/drawingml/2006/main" name="Office-teem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-teem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3F5B09725FCBA4A99E305B0662FB1D7" ma:contentTypeVersion="13" ma:contentTypeDescription="Create a new document." ma:contentTypeScope="" ma:versionID="042bdb034df0f03791a994a37c1ba503">
  <xsd:schema xmlns:xsd="http://www.w3.org/2001/XMLSchema" xmlns:xs="http://www.w3.org/2001/XMLSchema" xmlns:p="http://schemas.microsoft.com/office/2006/metadata/properties" xmlns:ns3="483b9b95-8631-429e-8e0e-3f9876d53a13" xmlns:ns4="77bc2723-b0bf-405a-9365-750bd42d07bb" targetNamespace="http://schemas.microsoft.com/office/2006/metadata/properties" ma:root="true" ma:fieldsID="2f8b6479c9b0d138cc83a700224b93a2" ns3:_="" ns4:_="">
    <xsd:import namespace="483b9b95-8631-429e-8e0e-3f9876d53a13"/>
    <xsd:import namespace="77bc2723-b0bf-405a-9365-750bd42d07bb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AutoTags" minOccurs="0"/>
                <xsd:element ref="ns4:MediaServiceLocation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MediaServiceAutoKeyPoints" minOccurs="0"/>
                <xsd:element ref="ns4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3b9b95-8631-429e-8e0e-3f9876d53a13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description="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7bc2723-b0bf-405a-9365-750bd42d07b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9CC2B82C-1395-4C28-9EA9-597EF30FBB6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8B1E630-9256-4A11-B547-834D88CC754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83b9b95-8631-429e-8e0e-3f9876d53a13"/>
    <ds:schemaRef ds:uri="77bc2723-b0bf-405a-9365-750bd42d07b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4A841337-5F41-40DC-9D37-FDD7E86FEB99}">
  <ds:schemaRefs>
    <ds:schemaRef ds:uri="http://schemas.microsoft.com/office/infopath/2007/PartnerControls"/>
    <ds:schemaRef ds:uri="http://purl.org/dc/elements/1.1/"/>
    <ds:schemaRef ds:uri="http://schemas.microsoft.com/office/2006/metadata/properties"/>
    <ds:schemaRef ds:uri="77bc2723-b0bf-405a-9365-750bd42d07bb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483b9b95-8631-429e-8e0e-3f9876d53a13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Fazer_wide_screen</Template>
  <TotalTime>1400</TotalTime>
  <Words>189</Words>
  <Application>Microsoft Macintosh PowerPoint</Application>
  <PresentationFormat>Bildspel på skärmen (16:9)</PresentationFormat>
  <Paragraphs>23</Paragraphs>
  <Slides>7</Slides>
  <Notes>1</Notes>
  <HiddenSlides>0</HiddenSlides>
  <MMClips>0</MMClips>
  <ScaleCrop>false</ScaleCrop>
  <HeadingPairs>
    <vt:vector size="8" baseType="variant">
      <vt:variant>
        <vt:lpstr>Använt teckensnitt</vt:lpstr>
      </vt:variant>
      <vt:variant>
        <vt:i4>5</vt:i4>
      </vt:variant>
      <vt:variant>
        <vt:lpstr>Tema</vt:lpstr>
      </vt:variant>
      <vt:variant>
        <vt:i4>1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7</vt:i4>
      </vt:variant>
    </vt:vector>
  </HeadingPairs>
  <TitlesOfParts>
    <vt:vector size="14" baseType="lpstr">
      <vt:lpstr>Aptos</vt:lpstr>
      <vt:lpstr>Arial</vt:lpstr>
      <vt:lpstr>ITC Highlander Std Book</vt:lpstr>
      <vt:lpstr>Times</vt:lpstr>
      <vt:lpstr>Times New Roman</vt:lpstr>
      <vt:lpstr>Fazer_template_012020</vt:lpstr>
      <vt:lpstr>think-cell Slide</vt:lpstr>
      <vt:lpstr>Haastetehtävä: Kerro sadalle</vt:lpstr>
      <vt:lpstr>PowerPoint-presentation</vt:lpstr>
      <vt:lpstr>PowerPoint-presentation</vt:lpstr>
      <vt:lpstr>PowerPoint-presentation</vt:lpstr>
      <vt:lpstr>Esimerkkejä aikaisemmilta kilpailukausilta:</vt:lpstr>
      <vt:lpstr>PowerPoint-presentation</vt:lpstr>
      <vt:lpstr>Onnea kisaan!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rummer Susanna</dc:creator>
  <cp:lastModifiedBy>Emelie Pettersson</cp:lastModifiedBy>
  <cp:revision>41</cp:revision>
  <dcterms:created xsi:type="dcterms:W3CDTF">2020-08-03T06:03:57Z</dcterms:created>
  <dcterms:modified xsi:type="dcterms:W3CDTF">2024-06-05T13:36:17Z</dcterms:modified>
  <cp:category>Fazer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3F5B09725FCBA4A99E305B0662FB1D7</vt:lpwstr>
  </property>
</Properties>
</file>